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0"/>
  </p:notesMasterIdLst>
  <p:handoutMasterIdLst>
    <p:handoutMasterId r:id="rId41"/>
  </p:handoutMasterIdLst>
  <p:sldIdLst>
    <p:sldId id="1311" r:id="rId2"/>
    <p:sldId id="1265" r:id="rId3"/>
    <p:sldId id="1312" r:id="rId4"/>
    <p:sldId id="1315" r:id="rId5"/>
    <p:sldId id="1330" r:id="rId6"/>
    <p:sldId id="258" r:id="rId7"/>
    <p:sldId id="350" r:id="rId8"/>
    <p:sldId id="355" r:id="rId9"/>
    <p:sldId id="356" r:id="rId10"/>
    <p:sldId id="357" r:id="rId11"/>
    <p:sldId id="1331" r:id="rId12"/>
    <p:sldId id="1332" r:id="rId13"/>
    <p:sldId id="1333" r:id="rId14"/>
    <p:sldId id="1334" r:id="rId15"/>
    <p:sldId id="1335" r:id="rId16"/>
    <p:sldId id="1336" r:id="rId17"/>
    <p:sldId id="1326" r:id="rId18"/>
    <p:sldId id="1256" r:id="rId19"/>
    <p:sldId id="864" r:id="rId20"/>
    <p:sldId id="867" r:id="rId21"/>
    <p:sldId id="868" r:id="rId22"/>
    <p:sldId id="869" r:id="rId23"/>
    <p:sldId id="871" r:id="rId24"/>
    <p:sldId id="874" r:id="rId25"/>
    <p:sldId id="872" r:id="rId26"/>
    <p:sldId id="878" r:id="rId27"/>
    <p:sldId id="873" r:id="rId28"/>
    <p:sldId id="875" r:id="rId29"/>
    <p:sldId id="876" r:id="rId30"/>
    <p:sldId id="879" r:id="rId31"/>
    <p:sldId id="877" r:id="rId32"/>
    <p:sldId id="870" r:id="rId33"/>
    <p:sldId id="884" r:id="rId34"/>
    <p:sldId id="880" r:id="rId35"/>
    <p:sldId id="881" r:id="rId36"/>
    <p:sldId id="903" r:id="rId37"/>
    <p:sldId id="882" r:id="rId38"/>
    <p:sldId id="904" r:id="rId39"/>
  </p:sldIdLst>
  <p:sldSz cx="9144000" cy="6858000" type="screen4x3"/>
  <p:notesSz cx="6797675" cy="9926638"/>
  <p:custDataLst>
    <p:tags r:id="rId4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95" userDrawn="1">
          <p15:clr>
            <a:srgbClr val="A4A3A4"/>
          </p15:clr>
        </p15:guide>
        <p15:guide id="2" orient="horz" pos="77">
          <p15:clr>
            <a:srgbClr val="A4A3A4"/>
          </p15:clr>
        </p15:guide>
        <p15:guide id="3" orient="horz" pos="4057">
          <p15:clr>
            <a:srgbClr val="A4A3A4"/>
          </p15:clr>
        </p15:guide>
        <p15:guide id="4" orient="horz" pos="2364" userDrawn="1">
          <p15:clr>
            <a:srgbClr val="A4A3A4"/>
          </p15:clr>
        </p15:guide>
        <p15:guide id="5" orient="horz" pos="4269" userDrawn="1">
          <p15:clr>
            <a:srgbClr val="A4A3A4"/>
          </p15:clr>
        </p15:guide>
        <p15:guide id="6" pos="5232">
          <p15:clr>
            <a:srgbClr val="A4A3A4"/>
          </p15:clr>
        </p15:guide>
        <p15:guide id="7" pos="2699" userDrawn="1">
          <p15:clr>
            <a:srgbClr val="A4A3A4"/>
          </p15:clr>
        </p15:guide>
        <p15:guide id="8" pos="5670" userDrawn="1">
          <p15:clr>
            <a:srgbClr val="A4A3A4"/>
          </p15:clr>
        </p15:guide>
        <p15:guide id="9" pos="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of. Dr. Sebastian Sauer" initials="PDSS" lastIdx="11" clrIdx="0">
    <p:extLst>
      <p:ext uri="{19B8F6BF-5375-455C-9EA6-DF929625EA0E}">
        <p15:presenceInfo xmlns:p15="http://schemas.microsoft.com/office/powerpoint/2012/main" userId="bc1111da-e31a-4549-a164-9a506d46b34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  <a:srgbClr val="BFE5E2"/>
    <a:srgbClr val="983C3E"/>
    <a:srgbClr val="FFFF99"/>
    <a:srgbClr val="ECF2F8"/>
    <a:srgbClr val="E7EFED"/>
    <a:srgbClr val="CBDEDA"/>
    <a:srgbClr val="679E9B"/>
    <a:srgbClr val="186B71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57" autoAdjust="0"/>
    <p:restoredTop sz="94764" autoAdjust="0"/>
  </p:normalViewPr>
  <p:slideViewPr>
    <p:cSldViewPr snapToGrid="0" snapToObjects="1" showGuides="1">
      <p:cViewPr varScale="1">
        <p:scale>
          <a:sx n="109" d="100"/>
          <a:sy n="109" d="100"/>
        </p:scale>
        <p:origin x="1904" y="184"/>
      </p:cViewPr>
      <p:guideLst>
        <p:guide orient="horz" pos="595"/>
        <p:guide orient="horz" pos="77"/>
        <p:guide orient="horz" pos="4057"/>
        <p:guide orient="horz" pos="2364"/>
        <p:guide orient="horz" pos="4269"/>
        <p:guide pos="5232"/>
        <p:guide pos="2699"/>
        <p:guide pos="5670"/>
        <p:guide pos="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82" d="100"/>
        <a:sy n="182" d="100"/>
      </p:scale>
      <p:origin x="0" y="-66232"/>
    </p:cViewPr>
  </p:sorterViewPr>
  <p:notesViewPr>
    <p:cSldViewPr snapToGrid="0" snapToObjects="1" showGuides="1">
      <p:cViewPr varScale="1">
        <p:scale>
          <a:sx n="77" d="100"/>
          <a:sy n="77" d="100"/>
        </p:scale>
        <p:origin x="2664" y="114"/>
      </p:cViewPr>
      <p:guideLst>
        <p:guide orient="horz" pos="3127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commentAuthors" Target="commentAuthor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890D9F2-8FE6-D141-BE9F-2CE2CEF4C22D}" type="datetime1">
              <a:rPr lang="de-DE" smtClean="0"/>
              <a:t>05.12.18</a:t>
            </a:fld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C7157A5-FB16-48B7-B216-6660B3138BE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46848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C0E28898-05EE-164D-82C3-D8F52F5D90E7}" type="datetime1">
              <a:rPr lang="de-DE" smtClean="0"/>
              <a:t>05.12.18</a:t>
            </a:fld>
            <a:endParaRPr lang="de-DE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2" y="4714507"/>
            <a:ext cx="4985393" cy="4467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Klicken Sie, um die Formate des Vorlagentextes zu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BCB6D199-8F06-4346-AE65-F23F023EED6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511830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70008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7F8E567F-2A9D-6E45-8206-3A62E943E7DE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33805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6687E6C6-6263-B342-84EB-1A490CB2EAA7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69679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78221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3DF141C-AC6E-204F-83AC-8813C72B488C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02350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4CFD3F8B-3759-3B45-9499-86B3519C7A6E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36652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0B805A5-0520-1C45-9469-FBD4C5C9AAED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38335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EC52751E-040E-C948-B965-0333645FD5AF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16990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DFD7AF21-8C13-1445-B9D2-25BDEF487534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613480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3072142B-CD80-E648-A98F-0AFD4D8C9D35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73883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T:\Projektorganisation\Allgemein\Vorlagen\Logos\Initiale\FOM_Initial_2012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313" y="92075"/>
            <a:ext cx="744537" cy="74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44000" cy="6858000"/>
          </a:xfrm>
          <a:prstGeom prst="rect">
            <a:avLst/>
          </a:prstGeom>
        </p:spPr>
      </p:pic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>
          <a:xfrm>
            <a:off x="396851" y="3863556"/>
            <a:ext cx="8022566" cy="1354301"/>
          </a:xfrm>
        </p:spPr>
        <p:txBody>
          <a:bodyPr rIns="108000" anchor="b">
            <a:noAutofit/>
          </a:bodyPr>
          <a:lstStyle>
            <a:lvl1pPr algn="r">
              <a:buFontTx/>
              <a:buNone/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Modulname/Veranstaltung</a:t>
            </a:r>
          </a:p>
        </p:txBody>
      </p:sp>
      <p:sp>
        <p:nvSpPr>
          <p:cNvPr id="17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396851" y="5750928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ortragende/r</a:t>
            </a:r>
          </a:p>
        </p:txBody>
      </p:sp>
      <p:sp>
        <p:nvSpPr>
          <p:cNvPr id="18" name="Inhaltsplatzhalter 10"/>
          <p:cNvSpPr>
            <a:spLocks noGrp="1"/>
          </p:cNvSpPr>
          <p:nvPr>
            <p:ph sz="quarter" idx="15" hasCustomPrompt="1"/>
          </p:nvPr>
        </p:nvSpPr>
        <p:spPr>
          <a:xfrm>
            <a:off x="396851" y="5218247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0">
                <a:solidFill>
                  <a:schemeClr val="accent2">
                    <a:lumMod val="25000"/>
                  </a:schemeClr>
                </a:solidFill>
              </a:defRPr>
            </a:lvl1pPr>
          </a:lstStyle>
          <a:p>
            <a:pPr lvl="0"/>
            <a:r>
              <a:rPr lang="de-DE" dirty="0"/>
              <a:t>ggfs. Untertite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0636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551AA913-636A-024B-97DA-2823A03B3CFF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587258" y="3683480"/>
            <a:ext cx="6786652" cy="1250830"/>
          </a:xfrm>
        </p:spPr>
        <p:txBody>
          <a:bodyPr anchor="b"/>
          <a:lstStyle>
            <a:lvl1pPr algn="r">
              <a:buClr>
                <a:srgbClr val="23A092"/>
              </a:buClr>
              <a:buFont typeface="Wingdings" pitchFamily="2" charset="2"/>
              <a:buNone/>
              <a:defRPr sz="2400" b="1">
                <a:solidFill>
                  <a:schemeClr val="accent1"/>
                </a:solidFill>
              </a:defRPr>
            </a:lvl1pPr>
            <a:lvl2pPr marL="631825" indent="-285750"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rgbClr val="23A092"/>
                </a:solidFill>
              </a:defRPr>
            </a:lvl2pPr>
            <a:lvl3pPr marL="900113" indent="-269875">
              <a:buClr>
                <a:srgbClr val="23A092"/>
              </a:buClr>
              <a:buSzPct val="70000"/>
              <a:buFont typeface="Wingdings" pitchFamily="2" charset="2"/>
              <a:buNone/>
              <a:defRPr sz="1600">
                <a:solidFill>
                  <a:srgbClr val="1C1C1C"/>
                </a:solidFill>
              </a:defRPr>
            </a:lvl3pPr>
            <a:lvl4pPr marL="1165225" indent="-268288">
              <a:buClr>
                <a:srgbClr val="23A092"/>
              </a:buClr>
              <a:buSzPct val="60000"/>
              <a:buFont typeface="Wingdings" pitchFamily="2" charset="2"/>
              <a:buNone/>
              <a:defRPr sz="1500">
                <a:solidFill>
                  <a:srgbClr val="23A092"/>
                </a:solidFill>
              </a:defRPr>
            </a:lvl4pPr>
            <a:lvl5pPr marL="1527175" indent="-268288">
              <a:buClr>
                <a:srgbClr val="23A092"/>
              </a:buClr>
              <a:buSzPct val="50000"/>
              <a:buFont typeface="Wingdings" pitchFamily="2" charset="2"/>
              <a:buNone/>
              <a:defRPr sz="1500">
                <a:solidFill>
                  <a:srgbClr val="1C1C1C"/>
                </a:solidFill>
              </a:defRPr>
            </a:lvl5pPr>
          </a:lstStyle>
          <a:p>
            <a:pPr lvl="0"/>
            <a:r>
              <a:rPr lang="de-DE" dirty="0"/>
              <a:t>Zwischenüberschrift</a:t>
            </a:r>
          </a:p>
        </p:txBody>
      </p:sp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C5CAA0D-4951-1B4B-8DD7-1F6058E8650B}" type="datetime1">
              <a:rPr lang="de-DE" smtClean="0"/>
              <a:t>05.12.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9"/>
          <p:cNvCxnSpPr/>
          <p:nvPr userDrawn="1"/>
        </p:nvCxnSpPr>
        <p:spPr>
          <a:xfrm>
            <a:off x="4202884" y="906011"/>
            <a:ext cx="0" cy="558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5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2148F18-A8A4-7E48-81A3-4F6ABD8B42FC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k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138113" y="3713948"/>
            <a:ext cx="815980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4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F06776D-CF3D-3541-91D3-1F85A347115B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25451" y="3713948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 Verbindung 10"/>
          <p:cNvCxnSpPr/>
          <p:nvPr userDrawn="1"/>
        </p:nvCxnSpPr>
        <p:spPr>
          <a:xfrm>
            <a:off x="4210891" y="914400"/>
            <a:ext cx="0" cy="542925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138113" y="3714019"/>
            <a:ext cx="818197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2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46E0E723-25B4-6E40-9A9A-AB7CCA8639C0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9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5" name="Inhaltsplatzhalter 2"/>
          <p:cNvSpPr>
            <a:spLocks noGrp="1"/>
          </p:cNvSpPr>
          <p:nvPr>
            <p:ph idx="15" hasCustomPrompt="1"/>
          </p:nvPr>
        </p:nvSpPr>
        <p:spPr>
          <a:xfrm>
            <a:off x="25451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6" name="Inhaltsplatzhalter 2"/>
          <p:cNvSpPr>
            <a:spLocks noGrp="1"/>
          </p:cNvSpPr>
          <p:nvPr>
            <p:ph idx="16" hasCustomPrompt="1"/>
          </p:nvPr>
        </p:nvSpPr>
        <p:spPr>
          <a:xfrm>
            <a:off x="4202884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457381"/>
            <a:ext cx="8089105" cy="385582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3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43FFEB4-B7EF-6649-AEAF-7BB93AE3E38C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73904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9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96252D3-D463-3D45-9613-F5037574CA78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5660" y="992038"/>
            <a:ext cx="8803137" cy="5172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Klicken Sie, um die Formate des Vorlagentextes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122238" y="823066"/>
            <a:ext cx="7966867" cy="1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22238" y="6557906"/>
            <a:ext cx="7966867" cy="144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35" r:id="rId2"/>
    <p:sldLayoutId id="2147483749" r:id="rId3"/>
    <p:sldLayoutId id="2147483746" r:id="rId4"/>
    <p:sldLayoutId id="2147483748" r:id="rId5"/>
    <p:sldLayoutId id="2147483747" r:id="rId6"/>
    <p:sldLayoutId id="2147483750" r:id="rId7"/>
    <p:sldLayoutId id="2147483751" r:id="rId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3A092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-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+"/>
        <a:defRPr sz="20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16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2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useweb.org/" TargetMode="External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://dplyr.tidyverse.org/index.html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tiff"/><Relationship Id="rId3" Type="http://schemas.openxmlformats.org/officeDocument/2006/relationships/image" Target="../media/image5.png"/><Relationship Id="rId7" Type="http://schemas.openxmlformats.org/officeDocument/2006/relationships/image" Target="../media/image6.e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new-work.traum-ferienwohnungen.de/" TargetMode="External"/><Relationship Id="rId5" Type="http://schemas.openxmlformats.org/officeDocument/2006/relationships/hyperlink" Target="https://www.traum-ferienwohnungen.de/" TargetMode="External"/><Relationship Id="rId4" Type="http://schemas.openxmlformats.org/officeDocument/2006/relationships/hyperlink" Target="mailto:sven_thies@web.de" TargetMode="External"/><Relationship Id="rId9" Type="http://schemas.openxmlformats.org/officeDocument/2006/relationships/image" Target="../media/image8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1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ThiesDS/R-Training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00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2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rawgit.com/luebby/Datenanalyse-mit-R/master/Installation/Install.html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github.com/luebby/Datenanalyse-mit-R/blob/master/Installation/R-mosaic-Kurzreferenz.pdf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80971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2"/>
            <a:r>
              <a:rPr lang="de-DE" dirty="0"/>
              <a:t>R unterscheidet zwischen Groß- und Kleinbuchstaben.</a:t>
            </a:r>
          </a:p>
          <a:p>
            <a:pPr lvl="2"/>
            <a:r>
              <a:rPr lang="de-DE" dirty="0"/>
              <a:t>R verwendet den Punkt. als Dezimaltrennzeichen.</a:t>
            </a:r>
          </a:p>
          <a:p>
            <a:pPr lvl="2"/>
            <a:r>
              <a:rPr lang="de-DE" dirty="0"/>
              <a:t>Fehlende Werte werden in R durch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NA </a:t>
            </a:r>
            <a:r>
              <a:rPr lang="de-DE" dirty="0"/>
              <a:t>kodiert.</a:t>
            </a:r>
          </a:p>
          <a:p>
            <a:pPr lvl="2"/>
            <a:r>
              <a:rPr lang="de-DE" dirty="0"/>
              <a:t>Kommentare werden mit dem Rautezeichen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de-DE" dirty="0"/>
              <a:t>eingeleitet.</a:t>
            </a:r>
          </a:p>
          <a:p>
            <a:pPr lvl="2"/>
            <a:r>
              <a:rPr lang="de-DE" dirty="0"/>
              <a:t>Eine Ergebniszuweisung erfolgt über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&lt;-</a:t>
            </a:r>
            <a:r>
              <a:rPr lang="de-DE" dirty="0"/>
              <a:t>.</a:t>
            </a:r>
          </a:p>
          <a:p>
            <a:pPr lvl="2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%&gt;%</a:t>
            </a:r>
            <a:r>
              <a:rPr lang="de-DE" dirty="0"/>
              <a:t> (Paket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dplyr</a:t>
            </a:r>
            <a:r>
              <a:rPr lang="de-DE" dirty="0"/>
              <a:t>) übergibt Ergebnisse.</a:t>
            </a:r>
          </a:p>
          <a:p>
            <a:pPr lvl="2"/>
            <a:r>
              <a:rPr lang="de-DE" dirty="0"/>
              <a:t>Hilfe zur Funktion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oo:?foo</a:t>
            </a:r>
          </a:p>
          <a:p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R Basics	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12341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3 Hilfreiche </a:t>
            </a:r>
            <a:r>
              <a:rPr lang="de-DE" dirty="0" err="1"/>
              <a:t>Cheatsheets</a:t>
            </a:r>
            <a:r>
              <a:rPr lang="de-DE" dirty="0"/>
              <a:t> und Orientierungstabell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42171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2F95B7C6-5AD4-EA4C-9CB4-C5DFB91423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250" y="1993900"/>
            <a:ext cx="8445500" cy="2870200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rientierungstabelle I: Kennzahlen</a:t>
            </a:r>
          </a:p>
        </p:txBody>
      </p:sp>
    </p:spTree>
    <p:extLst>
      <p:ext uri="{BB962C8B-B14F-4D97-AF65-F5344CB8AC3E}">
        <p14:creationId xmlns:p14="http://schemas.microsoft.com/office/powerpoint/2010/main" val="28921301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38D4F328-9D62-7A44-8F09-D51BBD38AF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250" y="1997484"/>
            <a:ext cx="8445500" cy="2324100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rientierungstabelle II: Visualisierungen</a:t>
            </a:r>
          </a:p>
        </p:txBody>
      </p:sp>
    </p:spTree>
    <p:extLst>
      <p:ext uri="{BB962C8B-B14F-4D97-AF65-F5344CB8AC3E}">
        <p14:creationId xmlns:p14="http://schemas.microsoft.com/office/powerpoint/2010/main" val="18012747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C7A847BA-5D6B-DD43-96E6-D1A25516F4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250" y="1351768"/>
            <a:ext cx="8420100" cy="4660900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rientierungstabelle III: Hypothesentests</a:t>
            </a:r>
          </a:p>
        </p:txBody>
      </p:sp>
    </p:spTree>
    <p:extLst>
      <p:ext uri="{BB962C8B-B14F-4D97-AF65-F5344CB8AC3E}">
        <p14:creationId xmlns:p14="http://schemas.microsoft.com/office/powerpoint/2010/main" val="28611164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4 Beispiel Datenanalyse I: Datenbereinig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56390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5 Beispiel Datenanalyse II</a:t>
            </a:r>
            <a:r>
              <a:rPr lang="de-DE"/>
              <a:t>: </a:t>
            </a:r>
          </a:p>
          <a:p>
            <a:r>
              <a:rPr lang="de-DE"/>
              <a:t>Hypothesentest &amp; Modellierung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80442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CF3912CE-8FAD-FC4D-BA62-EB4B199D30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PPENDIX:</a:t>
            </a:r>
          </a:p>
          <a:p>
            <a:r>
              <a:rPr lang="de-DE" dirty="0"/>
              <a:t>Datenhandling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C7832B2-2722-594B-8112-EA6FF47E29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1F01AC-CDD6-2C40-AA9C-5B2F5E7948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75674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lvl="1"/>
            <a:r>
              <a:rPr lang="de-DE" dirty="0"/>
              <a:t>“Vergiss nicht, Deine schmutzigen Daten aufzuräumen.”*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artoon: Datenbereinigung</a:t>
            </a:r>
          </a:p>
        </p:txBody>
      </p:sp>
      <p:sp>
        <p:nvSpPr>
          <p:cNvPr id="9" name="object 17"/>
          <p:cNvSpPr/>
          <p:nvPr/>
        </p:nvSpPr>
        <p:spPr>
          <a:xfrm>
            <a:off x="2039059" y="1135291"/>
            <a:ext cx="4491207" cy="321480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Textfeld 9"/>
          <p:cNvSpPr txBox="1"/>
          <p:nvPr/>
        </p:nvSpPr>
        <p:spPr bwMode="auto">
          <a:xfrm>
            <a:off x="130175" y="6095486"/>
            <a:ext cx="8210457" cy="349634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2700" marR="5080" indent="-12700">
              <a:lnSpc>
                <a:spcPct val="100000"/>
              </a:lnSpc>
              <a:spcBef>
                <a:spcPts val="95"/>
              </a:spcBef>
            </a:pPr>
            <a:r>
              <a:rPr lang="de-DE" sz="1000" dirty="0">
                <a:latin typeface="Arial"/>
                <a:cs typeface="Arial"/>
                <a:hlinkClick r:id="rId3"/>
              </a:rPr>
              <a:t>*https://www.CAUSEweb.org/</a:t>
            </a:r>
            <a:r>
              <a:rPr lang="de-DE" sz="1000" dirty="0">
                <a:latin typeface="Arial"/>
                <a:cs typeface="Arial"/>
              </a:rPr>
              <a:t> © J. B. </a:t>
            </a:r>
            <a:r>
              <a:rPr lang="de-DE" sz="1000" dirty="0" err="1">
                <a:latin typeface="Arial"/>
                <a:cs typeface="Arial"/>
              </a:rPr>
              <a:t>Landers</a:t>
            </a:r>
            <a:r>
              <a:rPr lang="de-DE" sz="1000" dirty="0">
                <a:latin typeface="Arial"/>
                <a:cs typeface="Arial"/>
              </a:rPr>
              <a:t>, Überschrift J. A. Morrow</a:t>
            </a:r>
          </a:p>
        </p:txBody>
      </p:sp>
    </p:spTree>
    <p:extLst>
      <p:ext uri="{BB962C8B-B14F-4D97-AF65-F5344CB8AC3E}">
        <p14:creationId xmlns:p14="http://schemas.microsoft.com/office/powerpoint/2010/main" val="39117739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Häufig müssen Daten vor der eigentlichen Analyse vorverarbeitet werden, z.B.:</a:t>
            </a:r>
          </a:p>
          <a:p>
            <a:pPr lvl="2"/>
            <a:r>
              <a:rPr lang="de-DE" dirty="0"/>
              <a:t>Variablen auswählen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select()</a:t>
            </a:r>
          </a:p>
          <a:p>
            <a:pPr lvl="2"/>
            <a:r>
              <a:rPr lang="de-DE" dirty="0"/>
              <a:t>Beobachtungen auswählen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ilter()</a:t>
            </a:r>
          </a:p>
          <a:p>
            <a:pPr lvl="2"/>
            <a:r>
              <a:rPr lang="de-DE" dirty="0"/>
              <a:t>Variablen verändern, neu erzeugen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mutate()</a:t>
            </a:r>
          </a:p>
          <a:p>
            <a:pPr lvl="2"/>
            <a:r>
              <a:rPr lang="de-DE" dirty="0"/>
              <a:t>Beobachtungen zusammenfassen: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summaris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2"/>
            <a:r>
              <a:rPr lang="de-DE" dirty="0"/>
              <a:t>...</a:t>
            </a:r>
          </a:p>
          <a:p>
            <a:pPr lvl="1"/>
            <a:r>
              <a:rPr lang="de-DE" dirty="0"/>
              <a:t>Das Paket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dplyr</a:t>
            </a:r>
            <a:r>
              <a:rPr lang="de-DE" dirty="0"/>
              <a:t>* bietet dazu viele Möglichkeiten.</a:t>
            </a:r>
          </a:p>
          <a:p>
            <a:pPr lvl="1"/>
            <a:r>
              <a:rPr lang="de-DE" dirty="0"/>
              <a:t>Umfangreiche Dokumentation: </a:t>
            </a:r>
            <a:r>
              <a:rPr lang="de-DE" dirty="0">
                <a:hlinkClick r:id="rId2"/>
              </a:rPr>
              <a:t>http://dplyr.tidyverse.org/index.html</a:t>
            </a:r>
            <a:endParaRPr lang="de-DE" dirty="0"/>
          </a:p>
          <a:p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atenvorverarbeitung	</a:t>
            </a:r>
          </a:p>
          <a:p>
            <a:endParaRPr lang="de-DE" dirty="0"/>
          </a:p>
        </p:txBody>
      </p:sp>
      <p:sp>
        <p:nvSpPr>
          <p:cNvPr id="8" name="Textfeld 7"/>
          <p:cNvSpPr txBox="1"/>
          <p:nvPr/>
        </p:nvSpPr>
        <p:spPr bwMode="auto">
          <a:xfrm>
            <a:off x="130175" y="6087019"/>
            <a:ext cx="8210457" cy="349634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b" anchorCtr="0" compatLnSpc="1">
            <a:prstTxWarp prst="textNoShape">
              <a:avLst/>
            </a:prstTxWarp>
            <a:noAutofit/>
          </a:bodyPr>
          <a:lstStyle/>
          <a:p>
            <a:pPr marL="0" lvl="1"/>
            <a:r>
              <a:rPr lang="de-DE" sz="1050" dirty="0"/>
              <a:t>*wird mit 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050" dirty="0"/>
              <a:t> installiert und geladen.</a:t>
            </a:r>
          </a:p>
        </p:txBody>
      </p:sp>
    </p:spTree>
    <p:extLst>
      <p:ext uri="{BB962C8B-B14F-4D97-AF65-F5344CB8AC3E}">
        <p14:creationId xmlns:p14="http://schemas.microsoft.com/office/powerpoint/2010/main" val="13274274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10" name="Inhaltsplatzhalter 5"/>
          <p:cNvSpPr txBox="1">
            <a:spLocks/>
          </p:cNvSpPr>
          <p:nvPr/>
        </p:nvSpPr>
        <p:spPr bwMode="auto">
          <a:xfrm>
            <a:off x="4103158" y="1381125"/>
            <a:ext cx="4283606" cy="5175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1 (2009 - 2014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/>
              <a:t>Studium der Betriebswirtschaftslehre an der Universität Bremen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2 (2014 - 2017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>
                <a:latin typeface="+mn-lt"/>
              </a:rPr>
              <a:t>Promotion an </a:t>
            </a:r>
            <a:r>
              <a:rPr lang="de-DE" sz="1400" kern="0" dirty="0"/>
              <a:t>der Universität Bremen im Bereich der angewandten Finanzmarktstatistik</a:t>
            </a:r>
            <a:endParaRPr lang="de-DE" sz="1400" kern="0" dirty="0">
              <a:latin typeface="+mn-lt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/>
              <a:t>Station 3 (2017 - heute): </a:t>
            </a:r>
            <a:br>
              <a:rPr lang="de-DE" sz="1400" kern="0" dirty="0"/>
            </a:br>
            <a:r>
              <a:rPr lang="de-DE" sz="1400" kern="0" dirty="0"/>
              <a:t>Data Scientist bei Traum-Ferienwohnungen GmbH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</a:t>
            </a:r>
            <a:r>
              <a:rPr lang="de-DE" sz="1400" kern="0" dirty="0">
                <a:solidFill>
                  <a:schemeClr val="tx2"/>
                </a:solidFill>
              </a:rPr>
              <a:t>- A/B-</a:t>
            </a:r>
            <a:r>
              <a:rPr lang="de-DE" sz="1400" kern="0" dirty="0" err="1">
                <a:solidFill>
                  <a:schemeClr val="tx2"/>
                </a:solidFill>
              </a:rPr>
              <a:t>Testing</a:t>
            </a:r>
            <a:endParaRPr lang="de-DE" sz="1400" kern="0" dirty="0">
              <a:solidFill>
                <a:schemeClr val="tx2"/>
              </a:solidFill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tx2"/>
                </a:solidFill>
              </a:rPr>
              <a:t>	- Data Science </a:t>
            </a:r>
            <a:r>
              <a:rPr lang="de-DE" sz="1400" kern="0" dirty="0" err="1">
                <a:solidFill>
                  <a:schemeClr val="tx2"/>
                </a:solidFill>
              </a:rPr>
              <a:t>processes</a:t>
            </a:r>
            <a:endParaRPr lang="de-DE" sz="1400" kern="0" dirty="0">
              <a:solidFill>
                <a:schemeClr val="tx2"/>
              </a:solidFill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tx2"/>
                </a:solidFill>
              </a:rPr>
              <a:t>	- </a:t>
            </a:r>
            <a:r>
              <a:rPr lang="de-DE" sz="1400" kern="0" dirty="0" err="1">
                <a:solidFill>
                  <a:schemeClr val="tx2"/>
                </a:solidFill>
              </a:rPr>
              <a:t>Storytelling</a:t>
            </a:r>
            <a:r>
              <a:rPr lang="de-DE" sz="1400" kern="0" dirty="0">
                <a:solidFill>
                  <a:schemeClr val="tx2"/>
                </a:solidFill>
              </a:rPr>
              <a:t> </a:t>
            </a:r>
            <a:r>
              <a:rPr lang="de-DE" sz="1400" kern="0" dirty="0" err="1">
                <a:solidFill>
                  <a:schemeClr val="tx2"/>
                </a:solidFill>
              </a:rPr>
              <a:t>with</a:t>
            </a:r>
            <a:r>
              <a:rPr lang="de-DE" sz="1400" kern="0" dirty="0">
                <a:solidFill>
                  <a:schemeClr val="tx2"/>
                </a:solidFill>
              </a:rPr>
              <a:t> </a:t>
            </a:r>
            <a:r>
              <a:rPr lang="de-DE" sz="1400" kern="0" dirty="0" err="1">
                <a:solidFill>
                  <a:schemeClr val="tx2"/>
                </a:solidFill>
              </a:rPr>
              <a:t>data</a:t>
            </a:r>
            <a:endParaRPr lang="de-DE" sz="1400" kern="0" dirty="0">
              <a:solidFill>
                <a:schemeClr val="tx2"/>
              </a:solidFill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endParaRPr lang="de-DE" sz="1400" kern="0" dirty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accent1"/>
                </a:solidFill>
              </a:rPr>
              <a:t>An der Hochschule seit 2016</a:t>
            </a:r>
          </a:p>
          <a:p>
            <a:pPr marL="323850" indent="-296863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Arial"/>
              </a:rPr>
              <a:t>Vorlesungen</a:t>
            </a:r>
            <a:endParaRPr lang="de-DE" sz="1400" kern="0" dirty="0">
              <a:latin typeface="Arial"/>
            </a:endParaRPr>
          </a:p>
          <a:p>
            <a:pPr marL="323850" indent="-296863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Wissenschaftliche Methodik (</a:t>
            </a:r>
            <a:r>
              <a:rPr lang="de-DE" sz="1400" kern="0" dirty="0" err="1"/>
              <a:t>SoSe</a:t>
            </a:r>
            <a:r>
              <a:rPr lang="de-DE" sz="1400" kern="0" dirty="0"/>
              <a:t> 16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Quantitative </a:t>
            </a:r>
            <a:r>
              <a:rPr lang="de-DE" sz="1400" kern="0" dirty="0" err="1"/>
              <a:t>Finance</a:t>
            </a:r>
            <a:r>
              <a:rPr lang="de-DE" sz="1400" kern="0" dirty="0"/>
              <a:t> (</a:t>
            </a:r>
            <a:r>
              <a:rPr lang="de-DE" sz="1400" kern="0" dirty="0" err="1"/>
              <a:t>WiSe</a:t>
            </a:r>
            <a:r>
              <a:rPr lang="de-DE" sz="1400" kern="0" dirty="0"/>
              <a:t> 16/17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Personalforschung (</a:t>
            </a:r>
            <a:r>
              <a:rPr lang="de-DE" sz="1400" kern="0" dirty="0" err="1"/>
              <a:t>SoSe</a:t>
            </a:r>
            <a:r>
              <a:rPr lang="de-DE" sz="1400" kern="0" dirty="0"/>
              <a:t> 17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Char char="§"/>
            </a:pPr>
            <a:endParaRPr lang="de-DE" sz="1800" kern="0" dirty="0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21" name="Grafik 20" descr="Passbild_Platzhalter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28029" y="1145286"/>
            <a:ext cx="1267967" cy="1633728"/>
          </a:xfrm>
          <a:prstGeom prst="rect">
            <a:avLst/>
          </a:prstGeom>
          <a:solidFill>
            <a:srgbClr val="FFFFFF">
              <a:shade val="85000"/>
            </a:srgbClr>
          </a:solidFill>
          <a:ln w="25400" cap="sq">
            <a:solidFill>
              <a:schemeClr val="bg1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00000"/>
            </a:camera>
            <a:lightRig rig="twoPt" dir="t">
              <a:rot lat="0" lon="0" rev="7200000"/>
            </a:lightRig>
          </a:scene3d>
          <a:sp3d contourW="12700">
            <a:bevelT w="12700" h="12700"/>
            <a:contourClr>
              <a:srgbClr val="969696"/>
            </a:contourClr>
          </a:sp3d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756" y="3892940"/>
            <a:ext cx="4787844" cy="2965060"/>
          </a:xfrm>
          <a:prstGeom prst="rect">
            <a:avLst/>
          </a:prstGeom>
          <a:noFill/>
        </p:spPr>
      </p:pic>
      <p:sp>
        <p:nvSpPr>
          <p:cNvPr id="25" name="Rechteck 24"/>
          <p:cNvSpPr/>
          <p:nvPr/>
        </p:nvSpPr>
        <p:spPr>
          <a:xfrm>
            <a:off x="4117662" y="985838"/>
            <a:ext cx="9941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kern="0" dirty="0">
                <a:solidFill>
                  <a:schemeClr val="accent1"/>
                </a:solidFill>
                <a:latin typeface="Arial"/>
              </a:rPr>
              <a:t>Kurzvita</a:t>
            </a:r>
            <a:endParaRPr lang="de-DE" sz="2800" dirty="0">
              <a:solidFill>
                <a:schemeClr val="accent1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 rot="20940000">
            <a:off x="494421" y="4333418"/>
            <a:ext cx="2982864" cy="1907347"/>
          </a:xfrm>
          <a:custGeom>
            <a:avLst/>
            <a:gdLst>
              <a:gd name="connsiteX0" fmla="*/ 0 w 3114000"/>
              <a:gd name="connsiteY0" fmla="*/ 0 h 1998000"/>
              <a:gd name="connsiteX1" fmla="*/ 3114000 w 3114000"/>
              <a:gd name="connsiteY1" fmla="*/ 0 h 1998000"/>
              <a:gd name="connsiteX2" fmla="*/ 3114000 w 3114000"/>
              <a:gd name="connsiteY2" fmla="*/ 1998000 h 1998000"/>
              <a:gd name="connsiteX3" fmla="*/ 0 w 3114000"/>
              <a:gd name="connsiteY3" fmla="*/ 1998000 h 1998000"/>
              <a:gd name="connsiteX4" fmla="*/ 0 w 3114000"/>
              <a:gd name="connsiteY4" fmla="*/ 0 h 1998000"/>
              <a:gd name="connsiteX0" fmla="*/ 1142 w 3115142"/>
              <a:gd name="connsiteY0" fmla="*/ 0 h 1998000"/>
              <a:gd name="connsiteX1" fmla="*/ 3115142 w 3115142"/>
              <a:gd name="connsiteY1" fmla="*/ 0 h 1998000"/>
              <a:gd name="connsiteX2" fmla="*/ 3115142 w 3115142"/>
              <a:gd name="connsiteY2" fmla="*/ 1998000 h 1998000"/>
              <a:gd name="connsiteX3" fmla="*/ 1142 w 3115142"/>
              <a:gd name="connsiteY3" fmla="*/ 1998000 h 1998000"/>
              <a:gd name="connsiteX4" fmla="*/ 0 w 3115142"/>
              <a:gd name="connsiteY4" fmla="*/ 724427 h 1998000"/>
              <a:gd name="connsiteX5" fmla="*/ 1142 w 3115142"/>
              <a:gd name="connsiteY5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38564 w 3152564"/>
              <a:gd name="connsiteY0" fmla="*/ 0 h 1998000"/>
              <a:gd name="connsiteX1" fmla="*/ 3152564 w 3152564"/>
              <a:gd name="connsiteY1" fmla="*/ 0 h 1998000"/>
              <a:gd name="connsiteX2" fmla="*/ 3152564 w 3152564"/>
              <a:gd name="connsiteY2" fmla="*/ 1998000 h 1998000"/>
              <a:gd name="connsiteX3" fmla="*/ 38564 w 3152564"/>
              <a:gd name="connsiteY3" fmla="*/ 1998000 h 1998000"/>
              <a:gd name="connsiteX4" fmla="*/ 36575 w 3152564"/>
              <a:gd name="connsiteY4" fmla="*/ 1028298 h 1998000"/>
              <a:gd name="connsiteX5" fmla="*/ 37422 w 3152564"/>
              <a:gd name="connsiteY5" fmla="*/ 724427 h 1998000"/>
              <a:gd name="connsiteX6" fmla="*/ 38564 w 3152564"/>
              <a:gd name="connsiteY6" fmla="*/ 0 h 1998000"/>
              <a:gd name="connsiteX0" fmla="*/ 5059 w 3119059"/>
              <a:gd name="connsiteY0" fmla="*/ 0 h 1998000"/>
              <a:gd name="connsiteX1" fmla="*/ 3119059 w 3119059"/>
              <a:gd name="connsiteY1" fmla="*/ 0 h 1998000"/>
              <a:gd name="connsiteX2" fmla="*/ 3119059 w 3119059"/>
              <a:gd name="connsiteY2" fmla="*/ 1998000 h 1998000"/>
              <a:gd name="connsiteX3" fmla="*/ 5059 w 3119059"/>
              <a:gd name="connsiteY3" fmla="*/ 1998000 h 1998000"/>
              <a:gd name="connsiteX4" fmla="*/ 3070 w 3119059"/>
              <a:gd name="connsiteY4" fmla="*/ 1028298 h 1998000"/>
              <a:gd name="connsiteX5" fmla="*/ 3917 w 3119059"/>
              <a:gd name="connsiteY5" fmla="*/ 724427 h 1998000"/>
              <a:gd name="connsiteX6" fmla="*/ 5059 w 3119059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0912 w 3124635"/>
              <a:gd name="connsiteY3" fmla="*/ 1998000 h 1998000"/>
              <a:gd name="connsiteX4" fmla="*/ 6912 w 3124635"/>
              <a:gd name="connsiteY4" fmla="*/ 1998000 h 1998000"/>
              <a:gd name="connsiteX5" fmla="*/ 0 w 3124635"/>
              <a:gd name="connsiteY5" fmla="*/ 1070525 h 1998000"/>
              <a:gd name="connsiteX6" fmla="*/ 5770 w 3124635"/>
              <a:gd name="connsiteY6" fmla="*/ 724427 h 1998000"/>
              <a:gd name="connsiteX7" fmla="*/ 6912 w 3124635"/>
              <a:gd name="connsiteY7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24635" h="1998000">
                <a:moveTo>
                  <a:pt x="6912" y="0"/>
                </a:moveTo>
                <a:lnTo>
                  <a:pt x="3120912" y="0"/>
                </a:lnTo>
                <a:lnTo>
                  <a:pt x="3124635" y="844700"/>
                </a:lnTo>
                <a:cubicBezTo>
                  <a:pt x="3080783" y="948623"/>
                  <a:pt x="3083140" y="1187267"/>
                  <a:pt x="3123174" y="1351412"/>
                </a:cubicBezTo>
                <a:lnTo>
                  <a:pt x="3120912" y="1998000"/>
                </a:lnTo>
                <a:lnTo>
                  <a:pt x="6912" y="1998000"/>
                </a:lnTo>
                <a:cubicBezTo>
                  <a:pt x="1853" y="1814551"/>
                  <a:pt x="190" y="1282787"/>
                  <a:pt x="0" y="1070525"/>
                </a:cubicBezTo>
                <a:cubicBezTo>
                  <a:pt x="21194" y="933754"/>
                  <a:pt x="85035" y="793630"/>
                  <a:pt x="5770" y="724427"/>
                </a:cubicBezTo>
                <a:cubicBezTo>
                  <a:pt x="6151" y="482951"/>
                  <a:pt x="6531" y="241476"/>
                  <a:pt x="691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Dr.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800" b="1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Sven Thies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b="1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ata Scientist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b="1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Traum-Ferienwohnungen GmbH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An der Reeperbahn 6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E - 28217 Bremen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+49 421 146 29 683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4"/>
              </a:rPr>
              <a:t>sven_thies@web.de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5"/>
              </a:rPr>
              <a:t>https://www.traum-ferienwohnungen.de/</a:t>
            </a: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6"/>
              </a:rPr>
              <a:t>https://new-work.traum-ferienwohnungen.de/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" name="Grafik 18" descr="FOM_Logo_RGB.emf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 rot="20940000">
            <a:off x="806007" y="4657420"/>
            <a:ext cx="378034" cy="37803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92B5743-F3C3-744A-A99D-0F743BA8A8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1125" y="3039855"/>
            <a:ext cx="1519575" cy="49756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175BBA7-A934-1E42-8528-F87C3C0373B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93" t="11132" r="23932" b="10292"/>
          <a:stretch/>
        </p:blipFill>
        <p:spPr>
          <a:xfrm rot="21296408">
            <a:off x="214693" y="1129107"/>
            <a:ext cx="1303421" cy="16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672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1690253"/>
            <a:ext cx="8305800" cy="2538847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Einlesen der </a:t>
            </a:r>
            <a:r>
              <a:rPr lang="de-DE" dirty="0" err="1"/>
              <a:t>Tipping</a:t>
            </a:r>
            <a:r>
              <a:rPr lang="de-DE" dirty="0"/>
              <a:t>* Daten sowie laden des Pakets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dirty="0"/>
              <a:t>.</a:t>
            </a:r>
          </a:p>
          <a:p>
            <a:pPr lvl="1"/>
            <a:endParaRPr lang="de-DE" dirty="0"/>
          </a:p>
          <a:p>
            <a:pPr lvl="1"/>
            <a:r>
              <a:rPr lang="de-DE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wnload.fil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ttps://goo.gl/</a:t>
            </a:r>
            <a:r>
              <a:rPr lang="de-DE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Kjnl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tfile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tips.csv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lvl="1"/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&lt;</a:t>
            </a:r>
            <a:r>
              <a:rPr lang="de-DE" dirty="0"/>
              <a:t>- </a:t>
            </a:r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ad.csv2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tips.csv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lvl="1"/>
            <a:r>
              <a:rPr lang="de-DE" i="1" dirty="0">
                <a:solidFill>
                  <a:schemeClr val="accent4">
                    <a:lumMod val="50000"/>
                  </a:schemeClr>
                </a:solidFill>
              </a:rPr>
              <a:t># Alternativ - heruntergeladene Datei einlesen:</a:t>
            </a:r>
          </a:p>
          <a:p>
            <a:pPr lvl="1"/>
            <a:r>
              <a:rPr lang="de-DE" i="1" dirty="0">
                <a:solidFill>
                  <a:schemeClr val="accent4">
                    <a:lumMod val="50000"/>
                  </a:schemeClr>
                </a:solidFill>
              </a:rPr>
              <a:t># </a:t>
            </a:r>
            <a:r>
              <a:rPr lang="de-DE" i="1" dirty="0" err="1">
                <a:solidFill>
                  <a:schemeClr val="accent4">
                    <a:lumMod val="50000"/>
                  </a:schemeClr>
                </a:solidFill>
              </a:rPr>
              <a:t>tips</a:t>
            </a:r>
            <a:r>
              <a:rPr lang="de-DE" i="1" dirty="0">
                <a:solidFill>
                  <a:schemeClr val="accent4">
                    <a:lumMod val="50000"/>
                  </a:schemeClr>
                </a:solidFill>
              </a:rPr>
              <a:t> &lt;- read.csv2(</a:t>
            </a:r>
            <a:r>
              <a:rPr lang="de-DE" i="1" dirty="0" err="1">
                <a:solidFill>
                  <a:schemeClr val="accent4">
                    <a:lumMod val="50000"/>
                  </a:schemeClr>
                </a:solidFill>
              </a:rPr>
              <a:t>file.choose</a:t>
            </a:r>
            <a:r>
              <a:rPr lang="de-DE" i="1" dirty="0">
                <a:solidFill>
                  <a:schemeClr val="accent4">
                    <a:lumMod val="50000"/>
                  </a:schemeClr>
                </a:solidFill>
              </a:rPr>
              <a:t>())</a:t>
            </a:r>
          </a:p>
          <a:p>
            <a:pPr lvl="1"/>
            <a:endParaRPr lang="de-DE" dirty="0"/>
          </a:p>
          <a:p>
            <a:pPr lvl="1"/>
            <a:r>
              <a:rPr lang="de-DE" b="1" dirty="0">
                <a:solidFill>
                  <a:schemeClr val="accent1"/>
                </a:solidFill>
              </a:rPr>
              <a:t>library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mosaic)</a:t>
            </a:r>
            <a:r>
              <a:rPr lang="de-DE" dirty="0"/>
              <a:t> </a:t>
            </a:r>
            <a:r>
              <a:rPr lang="de-DE" i="1" dirty="0">
                <a:solidFill>
                  <a:schemeClr val="accent4">
                    <a:lumMod val="50000"/>
                  </a:schemeClr>
                </a:solidFill>
              </a:rPr>
              <a:t># Paket laden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orbereitung</a:t>
            </a:r>
          </a:p>
        </p:txBody>
      </p:sp>
      <p:sp>
        <p:nvSpPr>
          <p:cNvPr id="9" name="Textfeld 8"/>
          <p:cNvSpPr txBox="1"/>
          <p:nvPr/>
        </p:nvSpPr>
        <p:spPr bwMode="auto">
          <a:xfrm>
            <a:off x="130175" y="6087019"/>
            <a:ext cx="8210457" cy="349634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lvl="1"/>
            <a:r>
              <a:rPr lang="en-US" sz="1050" dirty="0"/>
              <a:t>*Bryant, P. G. and Smith, M (1995) Practical Data Analysis: Case Studies in Business </a:t>
            </a:r>
            <a:r>
              <a:rPr lang="en-US" sz="1050"/>
              <a:t>Statistics. Homewood, IL:</a:t>
            </a:r>
            <a:br>
              <a:rPr lang="en-US" sz="1050"/>
            </a:br>
            <a:r>
              <a:rPr lang="en-US" sz="1050"/>
              <a:t>Richard D</a:t>
            </a:r>
            <a:r>
              <a:rPr lang="en-US" sz="1050" dirty="0"/>
              <a:t>. Irwin Publishing	</a:t>
            </a:r>
          </a:p>
        </p:txBody>
      </p:sp>
    </p:spTree>
    <p:extLst>
      <p:ext uri="{BB962C8B-B14F-4D97-AF65-F5344CB8AC3E}">
        <p14:creationId xmlns:p14="http://schemas.microsoft.com/office/powerpoint/2010/main" val="11836602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968375"/>
            <a:ext cx="8305800" cy="1069431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1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sex,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pect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tegorical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variables: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evels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	n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ssing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1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x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actor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	2 	244 	0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istribution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1 Male (64.3%), Female (35.7%)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quantitative variables:</a:t>
            </a:r>
          </a:p>
          <a:p>
            <a:pPr lvl="1">
              <a:tabLst>
                <a:tab pos="1611313" algn="l"/>
                <a:tab pos="3857625" algn="l"/>
              </a:tabLst>
            </a:pP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min  Q1	median	Q3     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ax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d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1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umeric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3.07 13.3475 17.795 24.1275 50.81 19.78594 8.902412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	n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ssing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1 	244 	0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ariablen auswählen: select()	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07600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45634" y="5340713"/>
            <a:ext cx="8305800" cy="32301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45634" y="4789412"/>
            <a:ext cx="8305800" cy="32301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45634" y="3623733"/>
            <a:ext cx="8305800" cy="859019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2"/>
            <a:r>
              <a:rPr lang="de-DE" dirty="0"/>
              <a:t>Logisches Und (∧): &amp;: Eine und Verknüpfung von zwei Aussagen ist genau dann wahr, wenn beide Aussagen wahr sind.</a:t>
            </a:r>
          </a:p>
          <a:p>
            <a:pPr lvl="2"/>
            <a:r>
              <a:rPr lang="de-DE" dirty="0"/>
              <a:t>Logisches Oder (∨): |: Eine oder Verknüpfung von zwei Aussagen ist genau dann wahr, wenn mindestens eine Aussage wahr ist.</a:t>
            </a:r>
          </a:p>
          <a:p>
            <a:pPr lvl="2"/>
            <a:r>
              <a:rPr lang="de-DE" dirty="0"/>
              <a:t>Logische Verneinung (¬): !</a:t>
            </a:r>
          </a:p>
          <a:p>
            <a:pPr lvl="2"/>
            <a:r>
              <a:rPr lang="de-DE" dirty="0"/>
              <a:t>Wahr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dirty="0"/>
              <a:t>, Falsch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</a:p>
          <a:p>
            <a:pPr lvl="1"/>
            <a:r>
              <a:rPr lang="de-DE" dirty="0"/>
              <a:t>Dabei wird vektorelementweise verglichen. Zusammenfassung durch Klammern.*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x &lt;- </a:t>
            </a:r>
            <a:r>
              <a:rPr lang="de-DE" sz="1400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y &lt;- </a:t>
            </a:r>
            <a:r>
              <a:rPr lang="de-DE" sz="1400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x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y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[1] TRUE FALSE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x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|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y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[1] TRUE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x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|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y)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[1] TRUE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ogik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/>
              <p:cNvSpPr txBox="1"/>
              <p:nvPr/>
            </p:nvSpPr>
            <p:spPr bwMode="auto">
              <a:xfrm>
                <a:off x="130175" y="6087019"/>
                <a:ext cx="8210457" cy="349634"/>
              </a:xfrm>
              <a:prstGeom prst="rect">
                <a:avLst/>
              </a:prstGeom>
              <a:noFill/>
              <a:ln w="12700">
                <a:noFill/>
              </a:ln>
              <a:effectLst/>
              <a:extLst/>
            </p:spPr>
            <p:txBody>
              <a:bodyPr vert="horz" wrap="none" lIns="36000" tIns="36000" rIns="36000" bIns="36000" numCol="1" rtlCol="0" anchor="b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lvl="1"/>
                <a:r>
                  <a:rPr lang="de-DE" sz="1050" dirty="0"/>
                  <a:t>*Über all() (</a:t>
                </a:r>
                <a14:m>
                  <m:oMath xmlns:m="http://schemas.openxmlformats.org/officeDocument/2006/math">
                    <m:r>
                      <a:rPr lang="de-DE" sz="105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</m:oMath>
                </a14:m>
                <a:r>
                  <a:rPr lang="de-DE" sz="1050" dirty="0"/>
                  <a:t>) und </a:t>
                </a:r>
                <a:r>
                  <a:rPr lang="de-DE" sz="1050" dirty="0" err="1"/>
                  <a:t>any</a:t>
                </a:r>
                <a:r>
                  <a:rPr lang="de-DE" sz="1050" dirty="0"/>
                  <a:t>() (</a:t>
                </a:r>
                <a14:m>
                  <m:oMath xmlns:m="http://schemas.openxmlformats.org/officeDocument/2006/math">
                    <m:r>
                      <a:rPr lang="de-DE" sz="105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∃</m:t>
                    </m:r>
                  </m:oMath>
                </a14:m>
                <a:r>
                  <a:rPr lang="de-DE" sz="1050" dirty="0"/>
                  <a:t>) lassen sich Wahrheitsvektoren zusammenfassen.</a:t>
                </a:r>
                <a:endParaRPr lang="en-US" sz="1050" dirty="0"/>
              </a:p>
            </p:txBody>
          </p:sp>
        </mc:Choice>
        <mc:Fallback xmlns="">
          <p:sp>
            <p:nvSpPr>
              <p:cNvPr id="11" name="Textfeld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30175" y="6087019"/>
                <a:ext cx="8210457" cy="349634"/>
              </a:xfrm>
              <a:prstGeom prst="rect">
                <a:avLst/>
              </a:prstGeom>
              <a:blipFill rotWithShape="0">
                <a:blip r:embed="rId2"/>
                <a:stretch>
                  <a:fillRect l="-520" b="-12281"/>
                </a:stretch>
              </a:blipFill>
              <a:ln w="12700">
                <a:noFill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819553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Übung: Logik	</a:t>
            </a:r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Was ergibt: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TRUE|FALSE) &amp; (FALSE)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FALSE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TRUE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782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ösung Übung: Logik	</a:t>
            </a:r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Was ergibt: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TRUE|FALSE) &amp; (FALSE)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FALSE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TRUE</a:t>
            </a:r>
          </a:p>
          <a:p>
            <a:endParaRPr lang="de-DE" dirty="0"/>
          </a:p>
          <a:p>
            <a:pPr lvl="1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dirty="0"/>
              <a:t> oder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lang="de-DE" dirty="0"/>
              <a:t> ergibt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dirty="0"/>
              <a:t>.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dirty="0"/>
              <a:t> und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lang="de-DE" dirty="0"/>
              <a:t> ergibt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lang="de-DE" dirty="0"/>
              <a:t>, hier also </a:t>
            </a:r>
            <a:r>
              <a:rPr lang="de-DE" b="1" dirty="0">
                <a:solidFill>
                  <a:schemeClr val="accent1"/>
                </a:solidFill>
              </a:rPr>
              <a:t>a</a:t>
            </a:r>
            <a:r>
              <a:rPr lang="de-DE" dirty="0"/>
              <a:t>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64708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Übung: Mengenlehre	</a:t>
            </a:r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dirty="0"/>
              <a:t>Stimmt die Aussage: Wenn Beobachtungen anhand einer </a:t>
            </a:r>
            <a:r>
              <a:rPr lang="de-DE" dirty="0">
                <a:solidFill>
                  <a:schemeClr val="accent1"/>
                </a:solidFill>
              </a:rPr>
              <a:t>Und (∧)</a:t>
            </a:r>
            <a:r>
              <a:rPr lang="de-DE" dirty="0"/>
              <a:t> Verknüpfung ausgewählt werden, so werden mindestens so viele Beobachtungen wie bei einer </a:t>
            </a:r>
            <a:r>
              <a:rPr lang="de-DE" dirty="0">
                <a:solidFill>
                  <a:schemeClr val="accent1"/>
                </a:solidFill>
              </a:rPr>
              <a:t>Oder (∨)</a:t>
            </a:r>
            <a:r>
              <a:rPr lang="de-DE" dirty="0"/>
              <a:t> Verknüpfung ausgewählt?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Ja.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Nein.</a:t>
            </a:r>
          </a:p>
        </p:txBody>
      </p:sp>
      <p:grpSp>
        <p:nvGrpSpPr>
          <p:cNvPr id="18" name="Gruppieren 17"/>
          <p:cNvGrpSpPr/>
          <p:nvPr/>
        </p:nvGrpSpPr>
        <p:grpSpPr>
          <a:xfrm>
            <a:off x="1311728" y="1130028"/>
            <a:ext cx="3144291" cy="1671192"/>
            <a:chOff x="1790700" y="1557268"/>
            <a:chExt cx="3144291" cy="1671192"/>
          </a:xfrm>
        </p:grpSpPr>
        <p:sp>
          <p:nvSpPr>
            <p:cNvPr id="17" name="object 19"/>
            <p:cNvSpPr/>
            <p:nvPr/>
          </p:nvSpPr>
          <p:spPr>
            <a:xfrm>
              <a:off x="1790700" y="1853685"/>
              <a:ext cx="1965960" cy="1374775"/>
            </a:xfrm>
            <a:custGeom>
              <a:avLst/>
              <a:gdLst/>
              <a:ahLst/>
              <a:cxnLst/>
              <a:rect l="l" t="t" r="r" b="b"/>
              <a:pathLst>
                <a:path w="1965960" h="1374775">
                  <a:moveTo>
                    <a:pt x="1095666" y="1370208"/>
                  </a:moveTo>
                  <a:lnTo>
                    <a:pt x="869786" y="1370208"/>
                  </a:lnTo>
                  <a:lnTo>
                    <a:pt x="871835" y="1374760"/>
                  </a:lnTo>
                  <a:lnTo>
                    <a:pt x="1093617" y="1374760"/>
                  </a:lnTo>
                  <a:lnTo>
                    <a:pt x="1095666" y="1370208"/>
                  </a:lnTo>
                  <a:close/>
                </a:path>
                <a:path w="1965960" h="1374775">
                  <a:moveTo>
                    <a:pt x="1144556" y="1365656"/>
                  </a:moveTo>
                  <a:lnTo>
                    <a:pt x="820850" y="1365656"/>
                  </a:lnTo>
                  <a:lnTo>
                    <a:pt x="835098" y="1370208"/>
                  </a:lnTo>
                  <a:lnTo>
                    <a:pt x="1130353" y="1370208"/>
                  </a:lnTo>
                  <a:lnTo>
                    <a:pt x="1144556" y="1365656"/>
                  </a:lnTo>
                  <a:close/>
                </a:path>
                <a:path w="1965960" h="1374775">
                  <a:moveTo>
                    <a:pt x="1178971" y="1361104"/>
                  </a:moveTo>
                  <a:lnTo>
                    <a:pt x="786481" y="1361104"/>
                  </a:lnTo>
                  <a:lnTo>
                    <a:pt x="806647" y="1365656"/>
                  </a:lnTo>
                  <a:lnTo>
                    <a:pt x="1158759" y="1365656"/>
                  </a:lnTo>
                  <a:lnTo>
                    <a:pt x="1178971" y="1361104"/>
                  </a:lnTo>
                  <a:close/>
                </a:path>
                <a:path w="1965960" h="1374775">
                  <a:moveTo>
                    <a:pt x="1209106" y="1356552"/>
                  </a:moveTo>
                  <a:lnTo>
                    <a:pt x="756300" y="1356552"/>
                  </a:lnTo>
                  <a:lnTo>
                    <a:pt x="774372" y="1361104"/>
                  </a:lnTo>
                  <a:lnTo>
                    <a:pt x="1191080" y="1361104"/>
                  </a:lnTo>
                  <a:lnTo>
                    <a:pt x="1209106" y="1356552"/>
                  </a:lnTo>
                  <a:close/>
                </a:path>
                <a:path w="1965960" h="1374775">
                  <a:moveTo>
                    <a:pt x="1239060" y="1351999"/>
                  </a:moveTo>
                  <a:lnTo>
                    <a:pt x="724389" y="1351999"/>
                  </a:lnTo>
                  <a:lnTo>
                    <a:pt x="744328" y="1356552"/>
                  </a:lnTo>
                  <a:lnTo>
                    <a:pt x="1221124" y="1356552"/>
                  </a:lnTo>
                  <a:lnTo>
                    <a:pt x="1239060" y="1351999"/>
                  </a:lnTo>
                  <a:close/>
                </a:path>
                <a:path w="1965960" h="1374775">
                  <a:moveTo>
                    <a:pt x="1256904" y="1347447"/>
                  </a:moveTo>
                  <a:lnTo>
                    <a:pt x="706590" y="1347447"/>
                  </a:lnTo>
                  <a:lnTo>
                    <a:pt x="710505" y="1351999"/>
                  </a:lnTo>
                  <a:lnTo>
                    <a:pt x="1254901" y="1351999"/>
                  </a:lnTo>
                  <a:lnTo>
                    <a:pt x="1256904" y="1347447"/>
                  </a:lnTo>
                  <a:close/>
                </a:path>
                <a:path w="1965960" h="1374775">
                  <a:moveTo>
                    <a:pt x="1278573" y="1342895"/>
                  </a:moveTo>
                  <a:lnTo>
                    <a:pt x="684922" y="1342895"/>
                  </a:lnTo>
                  <a:lnTo>
                    <a:pt x="688837" y="1347447"/>
                  </a:lnTo>
                  <a:lnTo>
                    <a:pt x="1276570" y="1347447"/>
                  </a:lnTo>
                  <a:lnTo>
                    <a:pt x="1278573" y="1342895"/>
                  </a:lnTo>
                  <a:close/>
                </a:path>
                <a:path w="1965960" h="1374775">
                  <a:moveTo>
                    <a:pt x="1300059" y="1338343"/>
                  </a:moveTo>
                  <a:lnTo>
                    <a:pt x="665393" y="1338343"/>
                  </a:lnTo>
                  <a:lnTo>
                    <a:pt x="667305" y="1342895"/>
                  </a:lnTo>
                  <a:lnTo>
                    <a:pt x="1298101" y="1342895"/>
                  </a:lnTo>
                  <a:lnTo>
                    <a:pt x="1300059" y="1338343"/>
                  </a:lnTo>
                  <a:close/>
                </a:path>
                <a:path w="1965960" h="1374775">
                  <a:moveTo>
                    <a:pt x="1317539" y="1333791"/>
                  </a:moveTo>
                  <a:lnTo>
                    <a:pt x="647912" y="1333791"/>
                  </a:lnTo>
                  <a:lnTo>
                    <a:pt x="649824" y="1338343"/>
                  </a:lnTo>
                  <a:lnTo>
                    <a:pt x="1315582" y="1338343"/>
                  </a:lnTo>
                  <a:lnTo>
                    <a:pt x="1317539" y="1333791"/>
                  </a:lnTo>
                  <a:close/>
                </a:path>
                <a:path w="1965960" h="1374775">
                  <a:moveTo>
                    <a:pt x="1334883" y="1329238"/>
                  </a:moveTo>
                  <a:lnTo>
                    <a:pt x="630523" y="1329238"/>
                  </a:lnTo>
                  <a:lnTo>
                    <a:pt x="632481" y="1333791"/>
                  </a:lnTo>
                  <a:lnTo>
                    <a:pt x="1332971" y="1333791"/>
                  </a:lnTo>
                  <a:lnTo>
                    <a:pt x="1334883" y="1329238"/>
                  </a:lnTo>
                  <a:close/>
                </a:path>
                <a:path w="1965960" h="1374775">
                  <a:moveTo>
                    <a:pt x="1354048" y="1324686"/>
                  </a:moveTo>
                  <a:lnTo>
                    <a:pt x="607580" y="1324686"/>
                  </a:lnTo>
                  <a:lnTo>
                    <a:pt x="615228" y="1329238"/>
                  </a:lnTo>
                  <a:lnTo>
                    <a:pt x="1350224" y="1329238"/>
                  </a:lnTo>
                  <a:lnTo>
                    <a:pt x="1354048" y="1324686"/>
                  </a:lnTo>
                  <a:close/>
                </a:path>
                <a:path w="1965960" h="1374775">
                  <a:moveTo>
                    <a:pt x="1367340" y="1320134"/>
                  </a:moveTo>
                  <a:lnTo>
                    <a:pt x="598112" y="1320134"/>
                  </a:lnTo>
                  <a:lnTo>
                    <a:pt x="600023" y="1324686"/>
                  </a:lnTo>
                  <a:lnTo>
                    <a:pt x="1363516" y="1324686"/>
                  </a:lnTo>
                  <a:lnTo>
                    <a:pt x="1367340" y="1320134"/>
                  </a:lnTo>
                  <a:close/>
                </a:path>
                <a:path w="1965960" h="1374775">
                  <a:moveTo>
                    <a:pt x="1382408" y="1315582"/>
                  </a:moveTo>
                  <a:lnTo>
                    <a:pt x="582998" y="1315582"/>
                  </a:lnTo>
                  <a:lnTo>
                    <a:pt x="584910" y="1320134"/>
                  </a:lnTo>
                  <a:lnTo>
                    <a:pt x="1380542" y="1320134"/>
                  </a:lnTo>
                  <a:lnTo>
                    <a:pt x="1382408" y="1315582"/>
                  </a:lnTo>
                  <a:close/>
                </a:path>
                <a:path w="1965960" h="1374775">
                  <a:moveTo>
                    <a:pt x="1397430" y="1311030"/>
                  </a:moveTo>
                  <a:lnTo>
                    <a:pt x="568022" y="1311030"/>
                  </a:lnTo>
                  <a:lnTo>
                    <a:pt x="573621" y="1315582"/>
                  </a:lnTo>
                  <a:lnTo>
                    <a:pt x="1395564" y="1315582"/>
                  </a:lnTo>
                  <a:lnTo>
                    <a:pt x="1397430" y="1311030"/>
                  </a:lnTo>
                  <a:close/>
                </a:path>
                <a:path w="1965960" h="1374775">
                  <a:moveTo>
                    <a:pt x="1410404" y="1306477"/>
                  </a:moveTo>
                  <a:lnTo>
                    <a:pt x="555002" y="1306477"/>
                  </a:lnTo>
                  <a:lnTo>
                    <a:pt x="556869" y="1311030"/>
                  </a:lnTo>
                  <a:lnTo>
                    <a:pt x="1408583" y="1311030"/>
                  </a:lnTo>
                  <a:lnTo>
                    <a:pt x="1410404" y="1306477"/>
                  </a:lnTo>
                  <a:close/>
                </a:path>
                <a:path w="1965960" h="1374775">
                  <a:moveTo>
                    <a:pt x="1423332" y="1301925"/>
                  </a:moveTo>
                  <a:lnTo>
                    <a:pt x="542074" y="1301925"/>
                  </a:lnTo>
                  <a:lnTo>
                    <a:pt x="543940" y="1306477"/>
                  </a:lnTo>
                  <a:lnTo>
                    <a:pt x="1419690" y="1306477"/>
                  </a:lnTo>
                  <a:lnTo>
                    <a:pt x="1423332" y="1301925"/>
                  </a:lnTo>
                  <a:close/>
                </a:path>
                <a:path w="1965960" h="1374775">
                  <a:moveTo>
                    <a:pt x="1437990" y="1297373"/>
                  </a:moveTo>
                  <a:lnTo>
                    <a:pt x="529237" y="1297373"/>
                  </a:lnTo>
                  <a:lnTo>
                    <a:pt x="531103" y="1301925"/>
                  </a:lnTo>
                  <a:lnTo>
                    <a:pt x="1434348" y="1301925"/>
                  </a:lnTo>
                  <a:lnTo>
                    <a:pt x="1437990" y="1297373"/>
                  </a:lnTo>
                  <a:close/>
                </a:path>
                <a:path w="1965960" h="1374775">
                  <a:moveTo>
                    <a:pt x="1450736" y="1292821"/>
                  </a:moveTo>
                  <a:lnTo>
                    <a:pt x="511074" y="1292821"/>
                  </a:lnTo>
                  <a:lnTo>
                    <a:pt x="518357" y="1297373"/>
                  </a:lnTo>
                  <a:lnTo>
                    <a:pt x="1439811" y="1297373"/>
                  </a:lnTo>
                  <a:lnTo>
                    <a:pt x="1450736" y="1292821"/>
                  </a:lnTo>
                  <a:close/>
                </a:path>
                <a:path w="1965960" h="1374775">
                  <a:moveTo>
                    <a:pt x="1459750" y="1288269"/>
                  </a:moveTo>
                  <a:lnTo>
                    <a:pt x="505702" y="1288269"/>
                  </a:lnTo>
                  <a:lnTo>
                    <a:pt x="507477" y="1292821"/>
                  </a:lnTo>
                  <a:lnTo>
                    <a:pt x="1457929" y="1292821"/>
                  </a:lnTo>
                  <a:lnTo>
                    <a:pt x="1459750" y="1288269"/>
                  </a:lnTo>
                  <a:close/>
                </a:path>
                <a:path w="1965960" h="1374775">
                  <a:moveTo>
                    <a:pt x="1472314" y="1283717"/>
                  </a:moveTo>
                  <a:lnTo>
                    <a:pt x="491363" y="1283717"/>
                  </a:lnTo>
                  <a:lnTo>
                    <a:pt x="494913" y="1288269"/>
                  </a:lnTo>
                  <a:lnTo>
                    <a:pt x="1470493" y="1288269"/>
                  </a:lnTo>
                  <a:lnTo>
                    <a:pt x="1472314" y="1283717"/>
                  </a:lnTo>
                  <a:close/>
                </a:path>
                <a:path w="1965960" h="1374775">
                  <a:moveTo>
                    <a:pt x="1484741" y="1279164"/>
                  </a:moveTo>
                  <a:lnTo>
                    <a:pt x="480711" y="1279164"/>
                  </a:lnTo>
                  <a:lnTo>
                    <a:pt x="489587" y="1283717"/>
                  </a:lnTo>
                  <a:lnTo>
                    <a:pt x="1475864" y="1283717"/>
                  </a:lnTo>
                  <a:lnTo>
                    <a:pt x="1484741" y="1279164"/>
                  </a:lnTo>
                  <a:close/>
                </a:path>
                <a:path w="1965960" h="1374775">
                  <a:moveTo>
                    <a:pt x="1493572" y="1274612"/>
                  </a:moveTo>
                  <a:lnTo>
                    <a:pt x="471879" y="1274612"/>
                  </a:lnTo>
                  <a:lnTo>
                    <a:pt x="473655" y="1279164"/>
                  </a:lnTo>
                  <a:lnTo>
                    <a:pt x="1491797" y="1279164"/>
                  </a:lnTo>
                  <a:lnTo>
                    <a:pt x="1493572" y="1274612"/>
                  </a:lnTo>
                  <a:close/>
                </a:path>
                <a:path w="1965960" h="1374775">
                  <a:moveTo>
                    <a:pt x="1504042" y="1270060"/>
                  </a:moveTo>
                  <a:lnTo>
                    <a:pt x="461364" y="1270060"/>
                  </a:lnTo>
                  <a:lnTo>
                    <a:pt x="463139" y="1274612"/>
                  </a:lnTo>
                  <a:lnTo>
                    <a:pt x="1500583" y="1274612"/>
                  </a:lnTo>
                  <a:lnTo>
                    <a:pt x="1504042" y="1270060"/>
                  </a:lnTo>
                  <a:close/>
                </a:path>
                <a:path w="1965960" h="1374775">
                  <a:moveTo>
                    <a:pt x="1514467" y="1265508"/>
                  </a:moveTo>
                  <a:lnTo>
                    <a:pt x="450939" y="1265508"/>
                  </a:lnTo>
                  <a:lnTo>
                    <a:pt x="452669" y="1270060"/>
                  </a:lnTo>
                  <a:lnTo>
                    <a:pt x="1512737" y="1270060"/>
                  </a:lnTo>
                  <a:lnTo>
                    <a:pt x="1514467" y="1265508"/>
                  </a:lnTo>
                  <a:close/>
                </a:path>
                <a:path w="1965960" h="1374775">
                  <a:moveTo>
                    <a:pt x="1524846" y="1260956"/>
                  </a:moveTo>
                  <a:lnTo>
                    <a:pt x="440606" y="1260956"/>
                  </a:lnTo>
                  <a:lnTo>
                    <a:pt x="442336" y="1265508"/>
                  </a:lnTo>
                  <a:lnTo>
                    <a:pt x="1523116" y="1265508"/>
                  </a:lnTo>
                  <a:lnTo>
                    <a:pt x="1524846" y="1260956"/>
                  </a:lnTo>
                  <a:close/>
                </a:path>
                <a:path w="1965960" h="1374775">
                  <a:moveTo>
                    <a:pt x="1536773" y="1256403"/>
                  </a:moveTo>
                  <a:lnTo>
                    <a:pt x="430363" y="1256403"/>
                  </a:lnTo>
                  <a:lnTo>
                    <a:pt x="432048" y="1260956"/>
                  </a:lnTo>
                  <a:lnTo>
                    <a:pt x="1533404" y="1260956"/>
                  </a:lnTo>
                  <a:lnTo>
                    <a:pt x="1536773" y="1256403"/>
                  </a:lnTo>
                  <a:close/>
                </a:path>
                <a:path w="1965960" h="1374775">
                  <a:moveTo>
                    <a:pt x="1550293" y="1251851"/>
                  </a:moveTo>
                  <a:lnTo>
                    <a:pt x="421851" y="1251851"/>
                  </a:lnTo>
                  <a:lnTo>
                    <a:pt x="423581" y="1256403"/>
                  </a:lnTo>
                  <a:lnTo>
                    <a:pt x="1538503" y="1256403"/>
                  </a:lnTo>
                  <a:lnTo>
                    <a:pt x="1550293" y="1251851"/>
                  </a:lnTo>
                  <a:close/>
                </a:path>
                <a:path w="1965960" h="1374775">
                  <a:moveTo>
                    <a:pt x="1555346" y="1247299"/>
                  </a:moveTo>
                  <a:lnTo>
                    <a:pt x="411790" y="1247299"/>
                  </a:lnTo>
                  <a:lnTo>
                    <a:pt x="413429" y="1251851"/>
                  </a:lnTo>
                  <a:lnTo>
                    <a:pt x="1551977" y="1251851"/>
                  </a:lnTo>
                  <a:lnTo>
                    <a:pt x="1555346" y="1247299"/>
                  </a:lnTo>
                  <a:close/>
                </a:path>
                <a:path w="1965960" h="1374775">
                  <a:moveTo>
                    <a:pt x="1561992" y="1242747"/>
                  </a:moveTo>
                  <a:lnTo>
                    <a:pt x="403414" y="1242747"/>
                  </a:lnTo>
                  <a:lnTo>
                    <a:pt x="405099" y="1247299"/>
                  </a:lnTo>
                  <a:lnTo>
                    <a:pt x="1560353" y="1247299"/>
                  </a:lnTo>
                  <a:lnTo>
                    <a:pt x="1561992" y="1242747"/>
                  </a:lnTo>
                  <a:close/>
                </a:path>
                <a:path w="1965960" h="1374775">
                  <a:moveTo>
                    <a:pt x="1581794" y="1233642"/>
                  </a:moveTo>
                  <a:lnTo>
                    <a:pt x="383658" y="1233642"/>
                  </a:lnTo>
                  <a:lnTo>
                    <a:pt x="395129" y="1242747"/>
                  </a:lnTo>
                  <a:lnTo>
                    <a:pt x="1566999" y="1242747"/>
                  </a:lnTo>
                  <a:lnTo>
                    <a:pt x="1571916" y="1238195"/>
                  </a:lnTo>
                  <a:lnTo>
                    <a:pt x="1573600" y="1238195"/>
                  </a:lnTo>
                  <a:lnTo>
                    <a:pt x="1581794" y="1233642"/>
                  </a:lnTo>
                  <a:close/>
                </a:path>
                <a:path w="1965960" h="1374775">
                  <a:moveTo>
                    <a:pt x="1588258" y="1229090"/>
                  </a:moveTo>
                  <a:lnTo>
                    <a:pt x="377148" y="1229090"/>
                  </a:lnTo>
                  <a:lnTo>
                    <a:pt x="378787" y="1233642"/>
                  </a:lnTo>
                  <a:lnTo>
                    <a:pt x="1586665" y="1233642"/>
                  </a:lnTo>
                  <a:lnTo>
                    <a:pt x="1588258" y="1229090"/>
                  </a:lnTo>
                  <a:close/>
                </a:path>
                <a:path w="1965960" h="1374775">
                  <a:moveTo>
                    <a:pt x="1596361" y="1224538"/>
                  </a:moveTo>
                  <a:lnTo>
                    <a:pt x="367498" y="1224538"/>
                  </a:lnTo>
                  <a:lnTo>
                    <a:pt x="370684" y="1229090"/>
                  </a:lnTo>
                  <a:lnTo>
                    <a:pt x="1594722" y="1229090"/>
                  </a:lnTo>
                  <a:lnTo>
                    <a:pt x="1596361" y="1224538"/>
                  </a:lnTo>
                  <a:close/>
                </a:path>
                <a:path w="1965960" h="1374775">
                  <a:moveTo>
                    <a:pt x="1612293" y="1215434"/>
                  </a:moveTo>
                  <a:lnTo>
                    <a:pt x="353158" y="1215434"/>
                  </a:lnTo>
                  <a:lnTo>
                    <a:pt x="354706" y="1219986"/>
                  </a:lnTo>
                  <a:lnTo>
                    <a:pt x="365859" y="1224538"/>
                  </a:lnTo>
                  <a:lnTo>
                    <a:pt x="1602779" y="1224538"/>
                  </a:lnTo>
                  <a:lnTo>
                    <a:pt x="1607559" y="1219986"/>
                  </a:lnTo>
                  <a:lnTo>
                    <a:pt x="1609107" y="1219986"/>
                  </a:lnTo>
                  <a:lnTo>
                    <a:pt x="1612293" y="1215434"/>
                  </a:lnTo>
                  <a:close/>
                </a:path>
                <a:path w="1965960" h="1374775">
                  <a:moveTo>
                    <a:pt x="1620169" y="1210882"/>
                  </a:moveTo>
                  <a:lnTo>
                    <a:pt x="345283" y="1210882"/>
                  </a:lnTo>
                  <a:lnTo>
                    <a:pt x="346831" y="1215434"/>
                  </a:lnTo>
                  <a:lnTo>
                    <a:pt x="1618576" y="1215434"/>
                  </a:lnTo>
                  <a:lnTo>
                    <a:pt x="1620169" y="1210882"/>
                  </a:lnTo>
                  <a:close/>
                </a:path>
                <a:path w="1965960" h="1374775">
                  <a:moveTo>
                    <a:pt x="1627953" y="1206329"/>
                  </a:moveTo>
                  <a:lnTo>
                    <a:pt x="337499" y="1206329"/>
                  </a:lnTo>
                  <a:lnTo>
                    <a:pt x="342142" y="1210882"/>
                  </a:lnTo>
                  <a:lnTo>
                    <a:pt x="1624858" y="1210882"/>
                  </a:lnTo>
                  <a:lnTo>
                    <a:pt x="1627953" y="1206329"/>
                  </a:lnTo>
                  <a:close/>
                </a:path>
                <a:path w="1965960" h="1374775">
                  <a:moveTo>
                    <a:pt x="1637239" y="1201777"/>
                  </a:moveTo>
                  <a:lnTo>
                    <a:pt x="326665" y="1201777"/>
                  </a:lnTo>
                  <a:lnTo>
                    <a:pt x="335951" y="1206329"/>
                  </a:lnTo>
                  <a:lnTo>
                    <a:pt x="1629501" y="1206329"/>
                  </a:lnTo>
                  <a:lnTo>
                    <a:pt x="1637239" y="1201777"/>
                  </a:lnTo>
                  <a:close/>
                </a:path>
                <a:path w="1965960" h="1374775">
                  <a:moveTo>
                    <a:pt x="1641792" y="1197225"/>
                  </a:moveTo>
                  <a:lnTo>
                    <a:pt x="323615" y="1197225"/>
                  </a:lnTo>
                  <a:lnTo>
                    <a:pt x="325162" y="1201777"/>
                  </a:lnTo>
                  <a:lnTo>
                    <a:pt x="1640289" y="1201777"/>
                  </a:lnTo>
                  <a:lnTo>
                    <a:pt x="1641792" y="1197225"/>
                  </a:lnTo>
                  <a:close/>
                </a:path>
                <a:path w="1965960" h="1374775">
                  <a:moveTo>
                    <a:pt x="1649394" y="1192673"/>
                  </a:moveTo>
                  <a:lnTo>
                    <a:pt x="316012" y="1192673"/>
                  </a:lnTo>
                  <a:lnTo>
                    <a:pt x="317560" y="1197225"/>
                  </a:lnTo>
                  <a:lnTo>
                    <a:pt x="1646389" y="1197225"/>
                  </a:lnTo>
                  <a:lnTo>
                    <a:pt x="1649394" y="1192673"/>
                  </a:lnTo>
                  <a:close/>
                </a:path>
                <a:path w="1965960" h="1374775">
                  <a:moveTo>
                    <a:pt x="1656950" y="1188121"/>
                  </a:moveTo>
                  <a:lnTo>
                    <a:pt x="308501" y="1188121"/>
                  </a:lnTo>
                  <a:lnTo>
                    <a:pt x="310004" y="1192673"/>
                  </a:lnTo>
                  <a:lnTo>
                    <a:pt x="1655448" y="1192673"/>
                  </a:lnTo>
                  <a:lnTo>
                    <a:pt x="1656950" y="1188121"/>
                  </a:lnTo>
                  <a:close/>
                </a:path>
                <a:path w="1965960" h="1374775">
                  <a:moveTo>
                    <a:pt x="1662914" y="1183568"/>
                  </a:moveTo>
                  <a:lnTo>
                    <a:pt x="302538" y="1183568"/>
                  </a:lnTo>
                  <a:lnTo>
                    <a:pt x="304040" y="1188121"/>
                  </a:lnTo>
                  <a:lnTo>
                    <a:pt x="1658407" y="1188121"/>
                  </a:lnTo>
                  <a:lnTo>
                    <a:pt x="1662914" y="1183568"/>
                  </a:lnTo>
                  <a:close/>
                </a:path>
                <a:path w="1965960" h="1374775">
                  <a:moveTo>
                    <a:pt x="1673202" y="1179016"/>
                  </a:moveTo>
                  <a:lnTo>
                    <a:pt x="295163" y="1179016"/>
                  </a:lnTo>
                  <a:lnTo>
                    <a:pt x="296620" y="1183568"/>
                  </a:lnTo>
                  <a:lnTo>
                    <a:pt x="1668832" y="1183568"/>
                  </a:lnTo>
                  <a:lnTo>
                    <a:pt x="1673202" y="1179016"/>
                  </a:lnTo>
                  <a:close/>
                </a:path>
                <a:path w="1965960" h="1374775">
                  <a:moveTo>
                    <a:pt x="1676161" y="1174464"/>
                  </a:moveTo>
                  <a:lnTo>
                    <a:pt x="289291" y="1174464"/>
                  </a:lnTo>
                  <a:lnTo>
                    <a:pt x="290748" y="1179016"/>
                  </a:lnTo>
                  <a:lnTo>
                    <a:pt x="1674704" y="1179016"/>
                  </a:lnTo>
                  <a:lnTo>
                    <a:pt x="1676161" y="1174464"/>
                  </a:lnTo>
                  <a:close/>
                </a:path>
                <a:path w="1965960" h="1374775">
                  <a:moveTo>
                    <a:pt x="1683399" y="1169912"/>
                  </a:moveTo>
                  <a:lnTo>
                    <a:pt x="282053" y="1169912"/>
                  </a:lnTo>
                  <a:lnTo>
                    <a:pt x="283464" y="1174464"/>
                  </a:lnTo>
                  <a:lnTo>
                    <a:pt x="1681942" y="1174464"/>
                  </a:lnTo>
                  <a:lnTo>
                    <a:pt x="1683399" y="1169912"/>
                  </a:lnTo>
                  <a:close/>
                </a:path>
                <a:path w="1965960" h="1374775">
                  <a:moveTo>
                    <a:pt x="1689134" y="1165360"/>
                  </a:moveTo>
                  <a:lnTo>
                    <a:pt x="276272" y="1165360"/>
                  </a:lnTo>
                  <a:lnTo>
                    <a:pt x="277728" y="1169912"/>
                  </a:lnTo>
                  <a:lnTo>
                    <a:pt x="1687723" y="1169912"/>
                  </a:lnTo>
                  <a:lnTo>
                    <a:pt x="1689134" y="1165360"/>
                  </a:lnTo>
                  <a:close/>
                </a:path>
                <a:path w="1965960" h="1374775">
                  <a:moveTo>
                    <a:pt x="1701881" y="1156255"/>
                  </a:moveTo>
                  <a:lnTo>
                    <a:pt x="262114" y="1156255"/>
                  </a:lnTo>
                  <a:lnTo>
                    <a:pt x="271993" y="1165360"/>
                  </a:lnTo>
                  <a:lnTo>
                    <a:pt x="1694825" y="1165360"/>
                  </a:lnTo>
                  <a:lnTo>
                    <a:pt x="1696281" y="1160807"/>
                  </a:lnTo>
                  <a:lnTo>
                    <a:pt x="1700515" y="1160807"/>
                  </a:lnTo>
                  <a:lnTo>
                    <a:pt x="1701881" y="1156255"/>
                  </a:lnTo>
                  <a:close/>
                </a:path>
                <a:path w="1965960" h="1374775">
                  <a:moveTo>
                    <a:pt x="1714399" y="1147151"/>
                  </a:moveTo>
                  <a:lnTo>
                    <a:pt x="251053" y="1147151"/>
                  </a:lnTo>
                  <a:lnTo>
                    <a:pt x="252418" y="1151703"/>
                  </a:lnTo>
                  <a:lnTo>
                    <a:pt x="255195" y="1151703"/>
                  </a:lnTo>
                  <a:lnTo>
                    <a:pt x="259338" y="1156255"/>
                  </a:lnTo>
                  <a:lnTo>
                    <a:pt x="1706114" y="1156255"/>
                  </a:lnTo>
                  <a:lnTo>
                    <a:pt x="1714399" y="1147151"/>
                  </a:lnTo>
                  <a:close/>
                </a:path>
                <a:path w="1965960" h="1374775">
                  <a:moveTo>
                    <a:pt x="1726644" y="1138047"/>
                  </a:moveTo>
                  <a:lnTo>
                    <a:pt x="240173" y="1138047"/>
                  </a:lnTo>
                  <a:lnTo>
                    <a:pt x="241493" y="1142599"/>
                  </a:lnTo>
                  <a:lnTo>
                    <a:pt x="242859" y="1142599"/>
                  </a:lnTo>
                  <a:lnTo>
                    <a:pt x="246956" y="1147151"/>
                  </a:lnTo>
                  <a:lnTo>
                    <a:pt x="1718496" y="1147151"/>
                  </a:lnTo>
                  <a:lnTo>
                    <a:pt x="1726644" y="1138047"/>
                  </a:lnTo>
                  <a:close/>
                </a:path>
                <a:path w="1965960" h="1374775">
                  <a:moveTo>
                    <a:pt x="1731971" y="1133494"/>
                  </a:moveTo>
                  <a:lnTo>
                    <a:pt x="234801" y="1133494"/>
                  </a:lnTo>
                  <a:lnTo>
                    <a:pt x="237442" y="1138047"/>
                  </a:lnTo>
                  <a:lnTo>
                    <a:pt x="1729330" y="1138047"/>
                  </a:lnTo>
                  <a:lnTo>
                    <a:pt x="1731971" y="1133494"/>
                  </a:lnTo>
                  <a:close/>
                </a:path>
                <a:path w="1965960" h="1374775">
                  <a:moveTo>
                    <a:pt x="1737297" y="1128942"/>
                  </a:moveTo>
                  <a:lnTo>
                    <a:pt x="228155" y="1128942"/>
                  </a:lnTo>
                  <a:lnTo>
                    <a:pt x="232116" y="1133494"/>
                  </a:lnTo>
                  <a:lnTo>
                    <a:pt x="1734656" y="1133494"/>
                  </a:lnTo>
                  <a:lnTo>
                    <a:pt x="1737297" y="1128942"/>
                  </a:lnTo>
                  <a:close/>
                </a:path>
                <a:path w="1965960" h="1374775">
                  <a:moveTo>
                    <a:pt x="1741211" y="1124390"/>
                  </a:moveTo>
                  <a:lnTo>
                    <a:pt x="224195" y="1124390"/>
                  </a:lnTo>
                  <a:lnTo>
                    <a:pt x="226835" y="1128942"/>
                  </a:lnTo>
                  <a:lnTo>
                    <a:pt x="1739891" y="1128942"/>
                  </a:lnTo>
                  <a:lnTo>
                    <a:pt x="1741211" y="1124390"/>
                  </a:lnTo>
                  <a:close/>
                </a:path>
                <a:path w="1965960" h="1374775">
                  <a:moveTo>
                    <a:pt x="1746446" y="1119838"/>
                  </a:moveTo>
                  <a:lnTo>
                    <a:pt x="219005" y="1119838"/>
                  </a:lnTo>
                  <a:lnTo>
                    <a:pt x="221600" y="1124390"/>
                  </a:lnTo>
                  <a:lnTo>
                    <a:pt x="1745126" y="1124390"/>
                  </a:lnTo>
                  <a:lnTo>
                    <a:pt x="1746446" y="1119838"/>
                  </a:lnTo>
                  <a:close/>
                </a:path>
                <a:path w="1965960" h="1374775">
                  <a:moveTo>
                    <a:pt x="1757964" y="1110733"/>
                  </a:moveTo>
                  <a:lnTo>
                    <a:pt x="207488" y="1110733"/>
                  </a:lnTo>
                  <a:lnTo>
                    <a:pt x="215136" y="1119838"/>
                  </a:lnTo>
                  <a:lnTo>
                    <a:pt x="1750316" y="1119838"/>
                  </a:lnTo>
                  <a:lnTo>
                    <a:pt x="1757964" y="1110733"/>
                  </a:lnTo>
                  <a:close/>
                </a:path>
                <a:path w="1965960" h="1374775">
                  <a:moveTo>
                    <a:pt x="1762971" y="1106181"/>
                  </a:moveTo>
                  <a:lnTo>
                    <a:pt x="202435" y="1106181"/>
                  </a:lnTo>
                  <a:lnTo>
                    <a:pt x="203710" y="1110733"/>
                  </a:lnTo>
                  <a:lnTo>
                    <a:pt x="1761742" y="1110733"/>
                  </a:lnTo>
                  <a:lnTo>
                    <a:pt x="1762971" y="1106181"/>
                  </a:lnTo>
                  <a:close/>
                </a:path>
                <a:path w="1965960" h="1374775">
                  <a:moveTo>
                    <a:pt x="1771666" y="1097077"/>
                  </a:moveTo>
                  <a:lnTo>
                    <a:pt x="193786" y="1097077"/>
                  </a:lnTo>
                  <a:lnTo>
                    <a:pt x="195015" y="1101629"/>
                  </a:lnTo>
                  <a:lnTo>
                    <a:pt x="197473" y="1101629"/>
                  </a:lnTo>
                  <a:lnTo>
                    <a:pt x="198703" y="1106181"/>
                  </a:lnTo>
                  <a:lnTo>
                    <a:pt x="1764246" y="1106181"/>
                  </a:lnTo>
                  <a:lnTo>
                    <a:pt x="1770437" y="1101629"/>
                  </a:lnTo>
                  <a:lnTo>
                    <a:pt x="1771666" y="1097077"/>
                  </a:lnTo>
                  <a:close/>
                </a:path>
                <a:path w="1965960" h="1374775">
                  <a:moveTo>
                    <a:pt x="1776536" y="1092525"/>
                  </a:moveTo>
                  <a:lnTo>
                    <a:pt x="188915" y="1092525"/>
                  </a:lnTo>
                  <a:lnTo>
                    <a:pt x="190099" y="1097077"/>
                  </a:lnTo>
                  <a:lnTo>
                    <a:pt x="1775307" y="1097077"/>
                  </a:lnTo>
                  <a:lnTo>
                    <a:pt x="1776536" y="1092525"/>
                  </a:lnTo>
                  <a:close/>
                </a:path>
                <a:path w="1965960" h="1374775">
                  <a:moveTo>
                    <a:pt x="1782545" y="1087972"/>
                  </a:moveTo>
                  <a:lnTo>
                    <a:pt x="184090" y="1087972"/>
                  </a:lnTo>
                  <a:lnTo>
                    <a:pt x="185274" y="1092525"/>
                  </a:lnTo>
                  <a:lnTo>
                    <a:pt x="1780178" y="1092525"/>
                  </a:lnTo>
                  <a:lnTo>
                    <a:pt x="1782545" y="1087972"/>
                  </a:lnTo>
                  <a:close/>
                </a:path>
                <a:path w="1965960" h="1374775">
                  <a:moveTo>
                    <a:pt x="1790830" y="1078868"/>
                  </a:moveTo>
                  <a:lnTo>
                    <a:pt x="174576" y="1078868"/>
                  </a:lnTo>
                  <a:lnTo>
                    <a:pt x="180494" y="1087972"/>
                  </a:lnTo>
                  <a:lnTo>
                    <a:pt x="1784958" y="1087972"/>
                  </a:lnTo>
                  <a:lnTo>
                    <a:pt x="1789692" y="1083420"/>
                  </a:lnTo>
                  <a:lnTo>
                    <a:pt x="1790830" y="1078868"/>
                  </a:lnTo>
                  <a:close/>
                </a:path>
                <a:path w="1965960" h="1374775">
                  <a:moveTo>
                    <a:pt x="1797795" y="1074316"/>
                  </a:moveTo>
                  <a:lnTo>
                    <a:pt x="169933" y="1074316"/>
                  </a:lnTo>
                  <a:lnTo>
                    <a:pt x="171071" y="1078868"/>
                  </a:lnTo>
                  <a:lnTo>
                    <a:pt x="1793197" y="1078868"/>
                  </a:lnTo>
                  <a:lnTo>
                    <a:pt x="1797795" y="1074316"/>
                  </a:lnTo>
                  <a:close/>
                </a:path>
                <a:path w="1965960" h="1374775">
                  <a:moveTo>
                    <a:pt x="1800117" y="1069764"/>
                  </a:moveTo>
                  <a:lnTo>
                    <a:pt x="165335" y="1069764"/>
                  </a:lnTo>
                  <a:lnTo>
                    <a:pt x="166473" y="1074316"/>
                  </a:lnTo>
                  <a:lnTo>
                    <a:pt x="1798979" y="1074316"/>
                  </a:lnTo>
                  <a:lnTo>
                    <a:pt x="1800117" y="1069764"/>
                  </a:lnTo>
                  <a:close/>
                </a:path>
                <a:path w="1965960" h="1374775">
                  <a:moveTo>
                    <a:pt x="1805761" y="1065212"/>
                  </a:moveTo>
                  <a:lnTo>
                    <a:pt x="161921" y="1065212"/>
                  </a:lnTo>
                  <a:lnTo>
                    <a:pt x="163059" y="1069764"/>
                  </a:lnTo>
                  <a:lnTo>
                    <a:pt x="1802393" y="1069764"/>
                  </a:lnTo>
                  <a:lnTo>
                    <a:pt x="1805761" y="1065212"/>
                  </a:lnTo>
                  <a:close/>
                </a:path>
                <a:path w="1965960" h="1374775">
                  <a:moveTo>
                    <a:pt x="1807992" y="1060659"/>
                  </a:moveTo>
                  <a:lnTo>
                    <a:pt x="155184" y="1060659"/>
                  </a:lnTo>
                  <a:lnTo>
                    <a:pt x="160783" y="1065212"/>
                  </a:lnTo>
                  <a:lnTo>
                    <a:pt x="1806900" y="1065212"/>
                  </a:lnTo>
                  <a:lnTo>
                    <a:pt x="1807992" y="1060659"/>
                  </a:lnTo>
                  <a:close/>
                </a:path>
                <a:path w="1965960" h="1374775">
                  <a:moveTo>
                    <a:pt x="1812453" y="1056107"/>
                  </a:moveTo>
                  <a:lnTo>
                    <a:pt x="151860" y="1056107"/>
                  </a:lnTo>
                  <a:lnTo>
                    <a:pt x="154091" y="1060659"/>
                  </a:lnTo>
                  <a:lnTo>
                    <a:pt x="1810223" y="1060659"/>
                  </a:lnTo>
                  <a:lnTo>
                    <a:pt x="1812453" y="1056107"/>
                  </a:lnTo>
                  <a:close/>
                </a:path>
                <a:path w="1965960" h="1374775">
                  <a:moveTo>
                    <a:pt x="1820101" y="1047003"/>
                  </a:moveTo>
                  <a:lnTo>
                    <a:pt x="144258" y="1047003"/>
                  </a:lnTo>
                  <a:lnTo>
                    <a:pt x="147536" y="1051555"/>
                  </a:lnTo>
                  <a:lnTo>
                    <a:pt x="148583" y="1051555"/>
                  </a:lnTo>
                  <a:lnTo>
                    <a:pt x="149675" y="1056107"/>
                  </a:lnTo>
                  <a:lnTo>
                    <a:pt x="1815731" y="1056107"/>
                  </a:lnTo>
                  <a:lnTo>
                    <a:pt x="1816823" y="1051555"/>
                  </a:lnTo>
                  <a:lnTo>
                    <a:pt x="1820101" y="1047003"/>
                  </a:lnTo>
                  <a:close/>
                </a:path>
                <a:path w="1965960" h="1374775">
                  <a:moveTo>
                    <a:pt x="1824380" y="1042451"/>
                  </a:moveTo>
                  <a:lnTo>
                    <a:pt x="140025" y="1042451"/>
                  </a:lnTo>
                  <a:lnTo>
                    <a:pt x="142119" y="1047003"/>
                  </a:lnTo>
                  <a:lnTo>
                    <a:pt x="1823287" y="1047003"/>
                  </a:lnTo>
                  <a:lnTo>
                    <a:pt x="1824380" y="1042451"/>
                  </a:lnTo>
                  <a:close/>
                </a:path>
                <a:path w="1965960" h="1374775">
                  <a:moveTo>
                    <a:pt x="1832756" y="1033346"/>
                  </a:moveTo>
                  <a:lnTo>
                    <a:pt x="133743" y="1033346"/>
                  </a:lnTo>
                  <a:lnTo>
                    <a:pt x="135791" y="1037898"/>
                  </a:lnTo>
                  <a:lnTo>
                    <a:pt x="137885" y="1042451"/>
                  </a:lnTo>
                  <a:lnTo>
                    <a:pt x="1826474" y="1042451"/>
                  </a:lnTo>
                  <a:lnTo>
                    <a:pt x="1829615" y="1037898"/>
                  </a:lnTo>
                  <a:lnTo>
                    <a:pt x="1830662" y="1037898"/>
                  </a:lnTo>
                  <a:lnTo>
                    <a:pt x="1832756" y="1033346"/>
                  </a:lnTo>
                  <a:close/>
                </a:path>
                <a:path w="1965960" h="1374775">
                  <a:moveTo>
                    <a:pt x="1835806" y="1028794"/>
                  </a:moveTo>
                  <a:lnTo>
                    <a:pt x="128599" y="1028794"/>
                  </a:lnTo>
                  <a:lnTo>
                    <a:pt x="132696" y="1033346"/>
                  </a:lnTo>
                  <a:lnTo>
                    <a:pt x="1834804" y="1033346"/>
                  </a:lnTo>
                  <a:lnTo>
                    <a:pt x="1835806" y="1028794"/>
                  </a:lnTo>
                  <a:close/>
                </a:path>
                <a:path w="1965960" h="1374775">
                  <a:moveTo>
                    <a:pt x="1846822" y="1015137"/>
                  </a:moveTo>
                  <a:lnTo>
                    <a:pt x="118584" y="1015137"/>
                  </a:lnTo>
                  <a:lnTo>
                    <a:pt x="120587" y="1019690"/>
                  </a:lnTo>
                  <a:lnTo>
                    <a:pt x="122544" y="1019690"/>
                  </a:lnTo>
                  <a:lnTo>
                    <a:pt x="124547" y="1024242"/>
                  </a:lnTo>
                  <a:lnTo>
                    <a:pt x="125549" y="1024242"/>
                  </a:lnTo>
                  <a:lnTo>
                    <a:pt x="126550" y="1028794"/>
                  </a:lnTo>
                  <a:lnTo>
                    <a:pt x="1837854" y="1028794"/>
                  </a:lnTo>
                  <a:lnTo>
                    <a:pt x="1840904" y="1024242"/>
                  </a:lnTo>
                  <a:lnTo>
                    <a:pt x="1845866" y="1019690"/>
                  </a:lnTo>
                  <a:lnTo>
                    <a:pt x="1846822" y="1015137"/>
                  </a:lnTo>
                  <a:close/>
                </a:path>
                <a:path w="1965960" h="1374775">
                  <a:moveTo>
                    <a:pt x="1855517" y="1006033"/>
                  </a:moveTo>
                  <a:lnTo>
                    <a:pt x="109935" y="1006033"/>
                  </a:lnTo>
                  <a:lnTo>
                    <a:pt x="116627" y="1015137"/>
                  </a:lnTo>
                  <a:lnTo>
                    <a:pt x="1849781" y="1015137"/>
                  </a:lnTo>
                  <a:lnTo>
                    <a:pt x="1855517" y="1006033"/>
                  </a:lnTo>
                  <a:close/>
                </a:path>
                <a:path w="1965960" h="1374775">
                  <a:moveTo>
                    <a:pt x="1858339" y="1001481"/>
                  </a:moveTo>
                  <a:lnTo>
                    <a:pt x="108068" y="1001481"/>
                  </a:lnTo>
                  <a:lnTo>
                    <a:pt x="108979" y="1006033"/>
                  </a:lnTo>
                  <a:lnTo>
                    <a:pt x="1856427" y="1006033"/>
                  </a:lnTo>
                  <a:lnTo>
                    <a:pt x="1858339" y="1001481"/>
                  </a:lnTo>
                  <a:close/>
                </a:path>
                <a:path w="1965960" h="1374775">
                  <a:moveTo>
                    <a:pt x="1860206" y="996929"/>
                  </a:moveTo>
                  <a:lnTo>
                    <a:pt x="105246" y="996929"/>
                  </a:lnTo>
                  <a:lnTo>
                    <a:pt x="106202" y="1001481"/>
                  </a:lnTo>
                  <a:lnTo>
                    <a:pt x="1859250" y="1001481"/>
                  </a:lnTo>
                  <a:lnTo>
                    <a:pt x="1860206" y="996929"/>
                  </a:lnTo>
                  <a:close/>
                </a:path>
                <a:path w="1965960" h="1374775">
                  <a:moveTo>
                    <a:pt x="1863847" y="992377"/>
                  </a:moveTo>
                  <a:lnTo>
                    <a:pt x="101559" y="992377"/>
                  </a:lnTo>
                  <a:lnTo>
                    <a:pt x="102469" y="996929"/>
                  </a:lnTo>
                  <a:lnTo>
                    <a:pt x="1862937" y="996929"/>
                  </a:lnTo>
                  <a:lnTo>
                    <a:pt x="1863847" y="992377"/>
                  </a:lnTo>
                  <a:close/>
                </a:path>
                <a:path w="1965960" h="1374775">
                  <a:moveTo>
                    <a:pt x="1866579" y="987824"/>
                  </a:moveTo>
                  <a:lnTo>
                    <a:pt x="98873" y="987824"/>
                  </a:lnTo>
                  <a:lnTo>
                    <a:pt x="99738" y="992377"/>
                  </a:lnTo>
                  <a:lnTo>
                    <a:pt x="1865668" y="992377"/>
                  </a:lnTo>
                  <a:lnTo>
                    <a:pt x="1866579" y="987824"/>
                  </a:lnTo>
                  <a:close/>
                </a:path>
                <a:path w="1965960" h="1374775">
                  <a:moveTo>
                    <a:pt x="1870129" y="983272"/>
                  </a:moveTo>
                  <a:lnTo>
                    <a:pt x="95277" y="983272"/>
                  </a:lnTo>
                  <a:lnTo>
                    <a:pt x="96187" y="987824"/>
                  </a:lnTo>
                  <a:lnTo>
                    <a:pt x="1869265" y="987824"/>
                  </a:lnTo>
                  <a:lnTo>
                    <a:pt x="1870129" y="983272"/>
                  </a:lnTo>
                  <a:close/>
                </a:path>
                <a:path w="1965960" h="1374775">
                  <a:moveTo>
                    <a:pt x="1873635" y="978720"/>
                  </a:moveTo>
                  <a:lnTo>
                    <a:pt x="92637" y="978720"/>
                  </a:lnTo>
                  <a:lnTo>
                    <a:pt x="93547" y="983272"/>
                  </a:lnTo>
                  <a:lnTo>
                    <a:pt x="1871905" y="983272"/>
                  </a:lnTo>
                  <a:lnTo>
                    <a:pt x="1873635" y="978720"/>
                  </a:lnTo>
                  <a:close/>
                </a:path>
                <a:path w="1965960" h="1374775">
                  <a:moveTo>
                    <a:pt x="1877094" y="974168"/>
                  </a:moveTo>
                  <a:lnTo>
                    <a:pt x="89177" y="974168"/>
                  </a:lnTo>
                  <a:lnTo>
                    <a:pt x="90907" y="978720"/>
                  </a:lnTo>
                  <a:lnTo>
                    <a:pt x="1874500" y="978720"/>
                  </a:lnTo>
                  <a:lnTo>
                    <a:pt x="1877094" y="974168"/>
                  </a:lnTo>
                  <a:close/>
                </a:path>
                <a:path w="1965960" h="1374775">
                  <a:moveTo>
                    <a:pt x="1878779" y="969616"/>
                  </a:moveTo>
                  <a:lnTo>
                    <a:pt x="86628" y="969616"/>
                  </a:lnTo>
                  <a:lnTo>
                    <a:pt x="87493" y="974168"/>
                  </a:lnTo>
                  <a:lnTo>
                    <a:pt x="1877959" y="974168"/>
                  </a:lnTo>
                  <a:lnTo>
                    <a:pt x="1878779" y="969616"/>
                  </a:lnTo>
                  <a:close/>
                </a:path>
                <a:path w="1965960" h="1374775">
                  <a:moveTo>
                    <a:pt x="1887837" y="955959"/>
                  </a:moveTo>
                  <a:lnTo>
                    <a:pt x="77569" y="955959"/>
                  </a:lnTo>
                  <a:lnTo>
                    <a:pt x="84943" y="969616"/>
                  </a:lnTo>
                  <a:lnTo>
                    <a:pt x="1881328" y="969616"/>
                  </a:lnTo>
                  <a:lnTo>
                    <a:pt x="1887064" y="960511"/>
                  </a:lnTo>
                  <a:lnTo>
                    <a:pt x="1887837" y="955959"/>
                  </a:lnTo>
                  <a:close/>
                </a:path>
                <a:path w="1965960" h="1374775">
                  <a:moveTo>
                    <a:pt x="1890250" y="951407"/>
                  </a:moveTo>
                  <a:lnTo>
                    <a:pt x="74428" y="951407"/>
                  </a:lnTo>
                  <a:lnTo>
                    <a:pt x="75976" y="955959"/>
                  </a:lnTo>
                  <a:lnTo>
                    <a:pt x="1889431" y="955959"/>
                  </a:lnTo>
                  <a:lnTo>
                    <a:pt x="1890250" y="951407"/>
                  </a:lnTo>
                  <a:close/>
                </a:path>
                <a:path w="1965960" h="1374775">
                  <a:moveTo>
                    <a:pt x="1892572" y="946855"/>
                  </a:moveTo>
                  <a:lnTo>
                    <a:pt x="72835" y="946855"/>
                  </a:lnTo>
                  <a:lnTo>
                    <a:pt x="73608" y="951407"/>
                  </a:lnTo>
                  <a:lnTo>
                    <a:pt x="1891798" y="951407"/>
                  </a:lnTo>
                  <a:lnTo>
                    <a:pt x="1892572" y="946855"/>
                  </a:lnTo>
                  <a:close/>
                </a:path>
                <a:path w="1965960" h="1374775">
                  <a:moveTo>
                    <a:pt x="1895667" y="942302"/>
                  </a:moveTo>
                  <a:lnTo>
                    <a:pt x="69785" y="942302"/>
                  </a:lnTo>
                  <a:lnTo>
                    <a:pt x="70558" y="946855"/>
                  </a:lnTo>
                  <a:lnTo>
                    <a:pt x="1894893" y="946855"/>
                  </a:lnTo>
                  <a:lnTo>
                    <a:pt x="1895667" y="942302"/>
                  </a:lnTo>
                  <a:close/>
                </a:path>
                <a:path w="1965960" h="1374775">
                  <a:moveTo>
                    <a:pt x="1897943" y="937750"/>
                  </a:moveTo>
                  <a:lnTo>
                    <a:pt x="67508" y="937750"/>
                  </a:lnTo>
                  <a:lnTo>
                    <a:pt x="68237" y="942302"/>
                  </a:lnTo>
                  <a:lnTo>
                    <a:pt x="1897169" y="942302"/>
                  </a:lnTo>
                  <a:lnTo>
                    <a:pt x="1897943" y="937750"/>
                  </a:lnTo>
                  <a:close/>
                </a:path>
                <a:path w="1965960" h="1374775">
                  <a:moveTo>
                    <a:pt x="1900902" y="933198"/>
                  </a:moveTo>
                  <a:lnTo>
                    <a:pt x="64550" y="933198"/>
                  </a:lnTo>
                  <a:lnTo>
                    <a:pt x="65278" y="937750"/>
                  </a:lnTo>
                  <a:lnTo>
                    <a:pt x="1900174" y="937750"/>
                  </a:lnTo>
                  <a:lnTo>
                    <a:pt x="1900902" y="933198"/>
                  </a:lnTo>
                  <a:close/>
                </a:path>
                <a:path w="1965960" h="1374775">
                  <a:moveTo>
                    <a:pt x="1903087" y="928646"/>
                  </a:moveTo>
                  <a:lnTo>
                    <a:pt x="62364" y="928646"/>
                  </a:lnTo>
                  <a:lnTo>
                    <a:pt x="63093" y="933198"/>
                  </a:lnTo>
                  <a:lnTo>
                    <a:pt x="1902359" y="933198"/>
                  </a:lnTo>
                  <a:lnTo>
                    <a:pt x="1903087" y="928646"/>
                  </a:lnTo>
                  <a:close/>
                </a:path>
                <a:path w="1965960" h="1374775">
                  <a:moveTo>
                    <a:pt x="1905227" y="924094"/>
                  </a:moveTo>
                  <a:lnTo>
                    <a:pt x="60225" y="924094"/>
                  </a:lnTo>
                  <a:lnTo>
                    <a:pt x="60908" y="928646"/>
                  </a:lnTo>
                  <a:lnTo>
                    <a:pt x="1904498" y="928646"/>
                  </a:lnTo>
                  <a:lnTo>
                    <a:pt x="1905227" y="924094"/>
                  </a:lnTo>
                  <a:close/>
                </a:path>
                <a:path w="1965960" h="1374775">
                  <a:moveTo>
                    <a:pt x="1912101" y="910437"/>
                  </a:moveTo>
                  <a:lnTo>
                    <a:pt x="53306" y="910437"/>
                  </a:lnTo>
                  <a:lnTo>
                    <a:pt x="57403" y="919542"/>
                  </a:lnTo>
                  <a:lnTo>
                    <a:pt x="58085" y="924094"/>
                  </a:lnTo>
                  <a:lnTo>
                    <a:pt x="1907321" y="924094"/>
                  </a:lnTo>
                  <a:lnTo>
                    <a:pt x="1908049" y="919542"/>
                  </a:lnTo>
                  <a:lnTo>
                    <a:pt x="1911463" y="914989"/>
                  </a:lnTo>
                  <a:lnTo>
                    <a:pt x="1912101" y="910437"/>
                  </a:lnTo>
                  <a:close/>
                </a:path>
                <a:path w="1965960" h="1374775">
                  <a:moveTo>
                    <a:pt x="1914741" y="905885"/>
                  </a:moveTo>
                  <a:lnTo>
                    <a:pt x="50665" y="905885"/>
                  </a:lnTo>
                  <a:lnTo>
                    <a:pt x="51348" y="910437"/>
                  </a:lnTo>
                  <a:lnTo>
                    <a:pt x="1913466" y="910437"/>
                  </a:lnTo>
                  <a:lnTo>
                    <a:pt x="1914741" y="905885"/>
                  </a:lnTo>
                  <a:close/>
                </a:path>
                <a:path w="1965960" h="1374775">
                  <a:moveTo>
                    <a:pt x="1919248" y="896781"/>
                  </a:moveTo>
                  <a:lnTo>
                    <a:pt x="45567" y="896781"/>
                  </a:lnTo>
                  <a:lnTo>
                    <a:pt x="49391" y="905885"/>
                  </a:lnTo>
                  <a:lnTo>
                    <a:pt x="1916061" y="905885"/>
                  </a:lnTo>
                  <a:lnTo>
                    <a:pt x="1919248" y="896781"/>
                  </a:lnTo>
                  <a:close/>
                </a:path>
                <a:path w="1965960" h="1374775">
                  <a:moveTo>
                    <a:pt x="1922889" y="887676"/>
                  </a:moveTo>
                  <a:lnTo>
                    <a:pt x="42562" y="887676"/>
                  </a:lnTo>
                  <a:lnTo>
                    <a:pt x="44338" y="892228"/>
                  </a:lnTo>
                  <a:lnTo>
                    <a:pt x="44975" y="896781"/>
                  </a:lnTo>
                  <a:lnTo>
                    <a:pt x="1920477" y="896781"/>
                  </a:lnTo>
                  <a:lnTo>
                    <a:pt x="1921068" y="892228"/>
                  </a:lnTo>
                  <a:lnTo>
                    <a:pt x="1921706" y="892228"/>
                  </a:lnTo>
                  <a:lnTo>
                    <a:pt x="1922889" y="887676"/>
                  </a:lnTo>
                  <a:close/>
                </a:path>
                <a:path w="1965960" h="1374775">
                  <a:moveTo>
                    <a:pt x="1924665" y="883124"/>
                  </a:moveTo>
                  <a:lnTo>
                    <a:pt x="40742" y="883124"/>
                  </a:lnTo>
                  <a:lnTo>
                    <a:pt x="41925" y="887676"/>
                  </a:lnTo>
                  <a:lnTo>
                    <a:pt x="1923481" y="887676"/>
                  </a:lnTo>
                  <a:lnTo>
                    <a:pt x="1924665" y="883124"/>
                  </a:lnTo>
                  <a:close/>
                </a:path>
                <a:path w="1965960" h="1374775">
                  <a:moveTo>
                    <a:pt x="1926986" y="878572"/>
                  </a:moveTo>
                  <a:lnTo>
                    <a:pt x="38465" y="878572"/>
                  </a:lnTo>
                  <a:lnTo>
                    <a:pt x="39012" y="883124"/>
                  </a:lnTo>
                  <a:lnTo>
                    <a:pt x="1926394" y="883124"/>
                  </a:lnTo>
                  <a:lnTo>
                    <a:pt x="1926986" y="878572"/>
                  </a:lnTo>
                  <a:close/>
                </a:path>
                <a:path w="1965960" h="1374775">
                  <a:moveTo>
                    <a:pt x="1928671" y="874020"/>
                  </a:moveTo>
                  <a:lnTo>
                    <a:pt x="36781" y="874020"/>
                  </a:lnTo>
                  <a:lnTo>
                    <a:pt x="37327" y="878572"/>
                  </a:lnTo>
                  <a:lnTo>
                    <a:pt x="1928124" y="878572"/>
                  </a:lnTo>
                  <a:lnTo>
                    <a:pt x="1928671" y="874020"/>
                  </a:lnTo>
                  <a:close/>
                </a:path>
                <a:path w="1965960" h="1374775">
                  <a:moveTo>
                    <a:pt x="1930309" y="869467"/>
                  </a:moveTo>
                  <a:lnTo>
                    <a:pt x="35097" y="869467"/>
                  </a:lnTo>
                  <a:lnTo>
                    <a:pt x="35643" y="874020"/>
                  </a:lnTo>
                  <a:lnTo>
                    <a:pt x="1929763" y="874020"/>
                  </a:lnTo>
                  <a:lnTo>
                    <a:pt x="1930309" y="869467"/>
                  </a:lnTo>
                  <a:close/>
                </a:path>
                <a:path w="1965960" h="1374775">
                  <a:moveTo>
                    <a:pt x="1932494" y="864915"/>
                  </a:moveTo>
                  <a:lnTo>
                    <a:pt x="32957" y="864915"/>
                  </a:lnTo>
                  <a:lnTo>
                    <a:pt x="33504" y="869467"/>
                  </a:lnTo>
                  <a:lnTo>
                    <a:pt x="1931948" y="869467"/>
                  </a:lnTo>
                  <a:lnTo>
                    <a:pt x="1932494" y="864915"/>
                  </a:lnTo>
                  <a:close/>
                </a:path>
                <a:path w="1965960" h="1374775">
                  <a:moveTo>
                    <a:pt x="1934042" y="860363"/>
                  </a:moveTo>
                  <a:lnTo>
                    <a:pt x="31410" y="860363"/>
                  </a:lnTo>
                  <a:lnTo>
                    <a:pt x="32411" y="864915"/>
                  </a:lnTo>
                  <a:lnTo>
                    <a:pt x="1933541" y="864915"/>
                  </a:lnTo>
                  <a:lnTo>
                    <a:pt x="1934042" y="860363"/>
                  </a:lnTo>
                  <a:close/>
                </a:path>
                <a:path w="1965960" h="1374775">
                  <a:moveTo>
                    <a:pt x="1935590" y="855811"/>
                  </a:moveTo>
                  <a:lnTo>
                    <a:pt x="29862" y="855811"/>
                  </a:lnTo>
                  <a:lnTo>
                    <a:pt x="30863" y="860363"/>
                  </a:lnTo>
                  <a:lnTo>
                    <a:pt x="1935089" y="860363"/>
                  </a:lnTo>
                  <a:lnTo>
                    <a:pt x="1935590" y="855811"/>
                  </a:lnTo>
                  <a:close/>
                </a:path>
                <a:path w="1965960" h="1374775">
                  <a:moveTo>
                    <a:pt x="1937047" y="851259"/>
                  </a:moveTo>
                  <a:lnTo>
                    <a:pt x="27859" y="851259"/>
                  </a:lnTo>
                  <a:lnTo>
                    <a:pt x="29361" y="855811"/>
                  </a:lnTo>
                  <a:lnTo>
                    <a:pt x="1936591" y="855811"/>
                  </a:lnTo>
                  <a:lnTo>
                    <a:pt x="1937047" y="851259"/>
                  </a:lnTo>
                  <a:close/>
                </a:path>
                <a:path w="1965960" h="1374775">
                  <a:moveTo>
                    <a:pt x="1939004" y="846706"/>
                  </a:moveTo>
                  <a:lnTo>
                    <a:pt x="26448" y="846706"/>
                  </a:lnTo>
                  <a:lnTo>
                    <a:pt x="26903" y="851259"/>
                  </a:lnTo>
                  <a:lnTo>
                    <a:pt x="1938503" y="851259"/>
                  </a:lnTo>
                  <a:lnTo>
                    <a:pt x="1939004" y="846706"/>
                  </a:lnTo>
                  <a:close/>
                </a:path>
                <a:path w="1965960" h="1374775">
                  <a:moveTo>
                    <a:pt x="1943101" y="833050"/>
                  </a:moveTo>
                  <a:lnTo>
                    <a:pt x="22351" y="833050"/>
                  </a:lnTo>
                  <a:lnTo>
                    <a:pt x="22760" y="837602"/>
                  </a:lnTo>
                  <a:lnTo>
                    <a:pt x="25037" y="842154"/>
                  </a:lnTo>
                  <a:lnTo>
                    <a:pt x="25492" y="846706"/>
                  </a:lnTo>
                  <a:lnTo>
                    <a:pt x="1939914" y="846706"/>
                  </a:lnTo>
                  <a:lnTo>
                    <a:pt x="1940415" y="842154"/>
                  </a:lnTo>
                  <a:lnTo>
                    <a:pt x="1942236" y="837602"/>
                  </a:lnTo>
                  <a:lnTo>
                    <a:pt x="1942646" y="837602"/>
                  </a:lnTo>
                  <a:lnTo>
                    <a:pt x="1943101" y="833050"/>
                  </a:lnTo>
                  <a:close/>
                </a:path>
                <a:path w="1965960" h="1374775">
                  <a:moveTo>
                    <a:pt x="1944376" y="828498"/>
                  </a:moveTo>
                  <a:lnTo>
                    <a:pt x="21031" y="828498"/>
                  </a:lnTo>
                  <a:lnTo>
                    <a:pt x="21486" y="833050"/>
                  </a:lnTo>
                  <a:lnTo>
                    <a:pt x="1943966" y="833050"/>
                  </a:lnTo>
                  <a:lnTo>
                    <a:pt x="1944376" y="828498"/>
                  </a:lnTo>
                  <a:close/>
                </a:path>
                <a:path w="1965960" h="1374775">
                  <a:moveTo>
                    <a:pt x="1946060" y="823946"/>
                  </a:moveTo>
                  <a:lnTo>
                    <a:pt x="19392" y="823946"/>
                  </a:lnTo>
                  <a:lnTo>
                    <a:pt x="19802" y="828498"/>
                  </a:lnTo>
                  <a:lnTo>
                    <a:pt x="1945650" y="828498"/>
                  </a:lnTo>
                  <a:lnTo>
                    <a:pt x="1946060" y="823946"/>
                  </a:lnTo>
                  <a:close/>
                </a:path>
                <a:path w="1965960" h="1374775">
                  <a:moveTo>
                    <a:pt x="1947653" y="819393"/>
                  </a:moveTo>
                  <a:lnTo>
                    <a:pt x="18208" y="819393"/>
                  </a:lnTo>
                  <a:lnTo>
                    <a:pt x="18572" y="823946"/>
                  </a:lnTo>
                  <a:lnTo>
                    <a:pt x="1946834" y="823946"/>
                  </a:lnTo>
                  <a:lnTo>
                    <a:pt x="1947653" y="819393"/>
                  </a:lnTo>
                  <a:close/>
                </a:path>
                <a:path w="1965960" h="1374775">
                  <a:moveTo>
                    <a:pt x="1949884" y="810289"/>
                  </a:moveTo>
                  <a:lnTo>
                    <a:pt x="15522" y="810289"/>
                  </a:lnTo>
                  <a:lnTo>
                    <a:pt x="16251" y="814841"/>
                  </a:lnTo>
                  <a:lnTo>
                    <a:pt x="16661" y="814841"/>
                  </a:lnTo>
                  <a:lnTo>
                    <a:pt x="17389" y="819393"/>
                  </a:lnTo>
                  <a:lnTo>
                    <a:pt x="1948017" y="819393"/>
                  </a:lnTo>
                  <a:lnTo>
                    <a:pt x="1948427" y="814841"/>
                  </a:lnTo>
                  <a:lnTo>
                    <a:pt x="1949884" y="810289"/>
                  </a:lnTo>
                  <a:close/>
                </a:path>
                <a:path w="1965960" h="1374775">
                  <a:moveTo>
                    <a:pt x="1951340" y="805737"/>
                  </a:moveTo>
                  <a:lnTo>
                    <a:pt x="14475" y="805737"/>
                  </a:lnTo>
                  <a:lnTo>
                    <a:pt x="14794" y="810289"/>
                  </a:lnTo>
                  <a:lnTo>
                    <a:pt x="1950248" y="810289"/>
                  </a:lnTo>
                  <a:lnTo>
                    <a:pt x="1951340" y="805737"/>
                  </a:lnTo>
                  <a:close/>
                </a:path>
                <a:path w="1965960" h="1374775">
                  <a:moveTo>
                    <a:pt x="1952023" y="801185"/>
                  </a:moveTo>
                  <a:lnTo>
                    <a:pt x="13428" y="801185"/>
                  </a:lnTo>
                  <a:lnTo>
                    <a:pt x="13747" y="805737"/>
                  </a:lnTo>
                  <a:lnTo>
                    <a:pt x="1951659" y="805737"/>
                  </a:lnTo>
                  <a:lnTo>
                    <a:pt x="1952023" y="801185"/>
                  </a:lnTo>
                  <a:close/>
                </a:path>
                <a:path w="1965960" h="1374775">
                  <a:moveTo>
                    <a:pt x="1953025" y="796632"/>
                  </a:moveTo>
                  <a:lnTo>
                    <a:pt x="12108" y="796632"/>
                  </a:lnTo>
                  <a:lnTo>
                    <a:pt x="13064" y="801185"/>
                  </a:lnTo>
                  <a:lnTo>
                    <a:pt x="1952661" y="801185"/>
                  </a:lnTo>
                  <a:lnTo>
                    <a:pt x="1953025" y="796632"/>
                  </a:lnTo>
                  <a:close/>
                </a:path>
                <a:path w="1965960" h="1374775">
                  <a:moveTo>
                    <a:pt x="1954299" y="792080"/>
                  </a:moveTo>
                  <a:lnTo>
                    <a:pt x="11152" y="792080"/>
                  </a:lnTo>
                  <a:lnTo>
                    <a:pt x="11790" y="796632"/>
                  </a:lnTo>
                  <a:lnTo>
                    <a:pt x="1953662" y="796632"/>
                  </a:lnTo>
                  <a:lnTo>
                    <a:pt x="1954299" y="792080"/>
                  </a:lnTo>
                  <a:close/>
                </a:path>
                <a:path w="1965960" h="1374775">
                  <a:moveTo>
                    <a:pt x="1955210" y="787528"/>
                  </a:moveTo>
                  <a:lnTo>
                    <a:pt x="10561" y="787528"/>
                  </a:lnTo>
                  <a:lnTo>
                    <a:pt x="10834" y="792080"/>
                  </a:lnTo>
                  <a:lnTo>
                    <a:pt x="1954573" y="792080"/>
                  </a:lnTo>
                  <a:lnTo>
                    <a:pt x="1955210" y="787528"/>
                  </a:lnTo>
                  <a:close/>
                </a:path>
                <a:path w="1965960" h="1374775">
                  <a:moveTo>
                    <a:pt x="1957668" y="773871"/>
                  </a:moveTo>
                  <a:lnTo>
                    <a:pt x="7738" y="773871"/>
                  </a:lnTo>
                  <a:lnTo>
                    <a:pt x="9650" y="787528"/>
                  </a:lnTo>
                  <a:lnTo>
                    <a:pt x="1955756" y="787528"/>
                  </a:lnTo>
                  <a:lnTo>
                    <a:pt x="1956075" y="782976"/>
                  </a:lnTo>
                  <a:lnTo>
                    <a:pt x="1957440" y="778424"/>
                  </a:lnTo>
                  <a:lnTo>
                    <a:pt x="1957668" y="773871"/>
                  </a:lnTo>
                  <a:close/>
                </a:path>
                <a:path w="1965960" h="1374775">
                  <a:moveTo>
                    <a:pt x="1958669" y="769319"/>
                  </a:moveTo>
                  <a:lnTo>
                    <a:pt x="7010" y="769319"/>
                  </a:lnTo>
                  <a:lnTo>
                    <a:pt x="7237" y="773871"/>
                  </a:lnTo>
                  <a:lnTo>
                    <a:pt x="1958214" y="773871"/>
                  </a:lnTo>
                  <a:lnTo>
                    <a:pt x="1958669" y="769319"/>
                  </a:lnTo>
                  <a:close/>
                </a:path>
                <a:path w="1965960" h="1374775">
                  <a:moveTo>
                    <a:pt x="1959853" y="760215"/>
                  </a:moveTo>
                  <a:lnTo>
                    <a:pt x="5371" y="760215"/>
                  </a:lnTo>
                  <a:lnTo>
                    <a:pt x="6737" y="769319"/>
                  </a:lnTo>
                  <a:lnTo>
                    <a:pt x="1958943" y="769319"/>
                  </a:lnTo>
                  <a:lnTo>
                    <a:pt x="1959853" y="760215"/>
                  </a:lnTo>
                  <a:close/>
                </a:path>
                <a:path w="1965960" h="1374775">
                  <a:moveTo>
                    <a:pt x="1960855" y="755663"/>
                  </a:moveTo>
                  <a:lnTo>
                    <a:pt x="4779" y="755663"/>
                  </a:lnTo>
                  <a:lnTo>
                    <a:pt x="4961" y="760215"/>
                  </a:lnTo>
                  <a:lnTo>
                    <a:pt x="1960490" y="760215"/>
                  </a:lnTo>
                  <a:lnTo>
                    <a:pt x="1960855" y="755663"/>
                  </a:lnTo>
                  <a:close/>
                </a:path>
                <a:path w="1965960" h="1374775">
                  <a:moveTo>
                    <a:pt x="1962311" y="742006"/>
                  </a:moveTo>
                  <a:lnTo>
                    <a:pt x="3095" y="742006"/>
                  </a:lnTo>
                  <a:lnTo>
                    <a:pt x="4552" y="755663"/>
                  </a:lnTo>
                  <a:lnTo>
                    <a:pt x="1961082" y="755663"/>
                  </a:lnTo>
                  <a:lnTo>
                    <a:pt x="1962175" y="746558"/>
                  </a:lnTo>
                  <a:lnTo>
                    <a:pt x="1962311" y="742006"/>
                  </a:lnTo>
                  <a:close/>
                </a:path>
                <a:path w="1965960" h="1374775">
                  <a:moveTo>
                    <a:pt x="1963722" y="728350"/>
                  </a:moveTo>
                  <a:lnTo>
                    <a:pt x="1684" y="728350"/>
                  </a:lnTo>
                  <a:lnTo>
                    <a:pt x="2776" y="742006"/>
                  </a:lnTo>
                  <a:lnTo>
                    <a:pt x="1962630" y="742006"/>
                  </a:lnTo>
                  <a:lnTo>
                    <a:pt x="1962812" y="737454"/>
                  </a:lnTo>
                  <a:lnTo>
                    <a:pt x="1963631" y="732902"/>
                  </a:lnTo>
                  <a:lnTo>
                    <a:pt x="1963722" y="728350"/>
                  </a:lnTo>
                  <a:close/>
                </a:path>
                <a:path w="1965960" h="1374775">
                  <a:moveTo>
                    <a:pt x="1964178" y="723797"/>
                  </a:moveTo>
                  <a:lnTo>
                    <a:pt x="1365" y="723797"/>
                  </a:lnTo>
                  <a:lnTo>
                    <a:pt x="1456" y="728350"/>
                  </a:lnTo>
                  <a:lnTo>
                    <a:pt x="1963996" y="728350"/>
                  </a:lnTo>
                  <a:lnTo>
                    <a:pt x="1964178" y="723797"/>
                  </a:lnTo>
                  <a:close/>
                </a:path>
                <a:path w="1965960" h="1374775">
                  <a:moveTo>
                    <a:pt x="1964633" y="714693"/>
                  </a:moveTo>
                  <a:lnTo>
                    <a:pt x="682" y="714693"/>
                  </a:lnTo>
                  <a:lnTo>
                    <a:pt x="1229" y="723797"/>
                  </a:lnTo>
                  <a:lnTo>
                    <a:pt x="1964314" y="723797"/>
                  </a:lnTo>
                  <a:lnTo>
                    <a:pt x="1964587" y="719245"/>
                  </a:lnTo>
                  <a:lnTo>
                    <a:pt x="1964633" y="714693"/>
                  </a:lnTo>
                  <a:close/>
                </a:path>
                <a:path w="1965960" h="1374775">
                  <a:moveTo>
                    <a:pt x="1964860" y="710141"/>
                  </a:moveTo>
                  <a:lnTo>
                    <a:pt x="546" y="710141"/>
                  </a:lnTo>
                  <a:lnTo>
                    <a:pt x="637" y="714693"/>
                  </a:lnTo>
                  <a:lnTo>
                    <a:pt x="1964815" y="714693"/>
                  </a:lnTo>
                  <a:lnTo>
                    <a:pt x="1964860" y="710141"/>
                  </a:lnTo>
                  <a:close/>
                </a:path>
                <a:path w="1965960" h="1374775">
                  <a:moveTo>
                    <a:pt x="1965361" y="696484"/>
                  </a:moveTo>
                  <a:lnTo>
                    <a:pt x="91" y="696484"/>
                  </a:lnTo>
                  <a:lnTo>
                    <a:pt x="91" y="701036"/>
                  </a:lnTo>
                  <a:lnTo>
                    <a:pt x="409" y="710141"/>
                  </a:lnTo>
                  <a:lnTo>
                    <a:pt x="1964997" y="710141"/>
                  </a:lnTo>
                  <a:lnTo>
                    <a:pt x="1965088" y="705589"/>
                  </a:lnTo>
                  <a:lnTo>
                    <a:pt x="1965316" y="701036"/>
                  </a:lnTo>
                  <a:lnTo>
                    <a:pt x="1965361" y="696484"/>
                  </a:lnTo>
                  <a:close/>
                </a:path>
                <a:path w="1965960" h="1374775">
                  <a:moveTo>
                    <a:pt x="1965407" y="682828"/>
                  </a:moveTo>
                  <a:lnTo>
                    <a:pt x="0" y="682828"/>
                  </a:lnTo>
                  <a:lnTo>
                    <a:pt x="45" y="696484"/>
                  </a:lnTo>
                  <a:lnTo>
                    <a:pt x="1965407" y="696484"/>
                  </a:lnTo>
                  <a:lnTo>
                    <a:pt x="1965452" y="691932"/>
                  </a:lnTo>
                  <a:lnTo>
                    <a:pt x="1965407" y="687380"/>
                  </a:lnTo>
                  <a:lnTo>
                    <a:pt x="1965407" y="682828"/>
                  </a:lnTo>
                  <a:close/>
                </a:path>
                <a:path w="1965960" h="1374775">
                  <a:moveTo>
                    <a:pt x="1965088" y="669171"/>
                  </a:moveTo>
                  <a:lnTo>
                    <a:pt x="409" y="669171"/>
                  </a:lnTo>
                  <a:lnTo>
                    <a:pt x="91" y="678276"/>
                  </a:lnTo>
                  <a:lnTo>
                    <a:pt x="45" y="682828"/>
                  </a:lnTo>
                  <a:lnTo>
                    <a:pt x="1965361" y="682828"/>
                  </a:lnTo>
                  <a:lnTo>
                    <a:pt x="1965316" y="678276"/>
                  </a:lnTo>
                  <a:lnTo>
                    <a:pt x="1965088" y="669171"/>
                  </a:lnTo>
                  <a:close/>
                </a:path>
                <a:path w="1965960" h="1374775">
                  <a:moveTo>
                    <a:pt x="1964860" y="664619"/>
                  </a:moveTo>
                  <a:lnTo>
                    <a:pt x="546" y="664619"/>
                  </a:lnTo>
                  <a:lnTo>
                    <a:pt x="500" y="669171"/>
                  </a:lnTo>
                  <a:lnTo>
                    <a:pt x="1964952" y="669171"/>
                  </a:lnTo>
                  <a:lnTo>
                    <a:pt x="1964860" y="664619"/>
                  </a:lnTo>
                  <a:close/>
                </a:path>
                <a:path w="1965960" h="1374775">
                  <a:moveTo>
                    <a:pt x="1963996" y="650962"/>
                  </a:moveTo>
                  <a:lnTo>
                    <a:pt x="1365" y="650962"/>
                  </a:lnTo>
                  <a:lnTo>
                    <a:pt x="1229" y="655515"/>
                  </a:lnTo>
                  <a:lnTo>
                    <a:pt x="682" y="664619"/>
                  </a:lnTo>
                  <a:lnTo>
                    <a:pt x="1964815" y="664619"/>
                  </a:lnTo>
                  <a:lnTo>
                    <a:pt x="1964633" y="660067"/>
                  </a:lnTo>
                  <a:lnTo>
                    <a:pt x="1964314" y="655515"/>
                  </a:lnTo>
                  <a:lnTo>
                    <a:pt x="1964178" y="655515"/>
                  </a:lnTo>
                  <a:lnTo>
                    <a:pt x="1963996" y="650962"/>
                  </a:lnTo>
                  <a:close/>
                </a:path>
                <a:path w="1965960" h="1374775">
                  <a:moveTo>
                    <a:pt x="1962812" y="637306"/>
                  </a:moveTo>
                  <a:lnTo>
                    <a:pt x="2776" y="637306"/>
                  </a:lnTo>
                  <a:lnTo>
                    <a:pt x="1684" y="650962"/>
                  </a:lnTo>
                  <a:lnTo>
                    <a:pt x="1963722" y="650962"/>
                  </a:lnTo>
                  <a:lnTo>
                    <a:pt x="1963631" y="646410"/>
                  </a:lnTo>
                  <a:lnTo>
                    <a:pt x="1962812" y="637306"/>
                  </a:lnTo>
                  <a:close/>
                </a:path>
                <a:path w="1965960" h="1374775">
                  <a:moveTo>
                    <a:pt x="1961082" y="623649"/>
                  </a:moveTo>
                  <a:lnTo>
                    <a:pt x="4552" y="623649"/>
                  </a:lnTo>
                  <a:lnTo>
                    <a:pt x="3095" y="632754"/>
                  </a:lnTo>
                  <a:lnTo>
                    <a:pt x="2958" y="637306"/>
                  </a:lnTo>
                  <a:lnTo>
                    <a:pt x="1962493" y="637306"/>
                  </a:lnTo>
                  <a:lnTo>
                    <a:pt x="1962311" y="632754"/>
                  </a:lnTo>
                  <a:lnTo>
                    <a:pt x="1962175" y="632754"/>
                  </a:lnTo>
                  <a:lnTo>
                    <a:pt x="1961082" y="623649"/>
                  </a:lnTo>
                  <a:close/>
                </a:path>
                <a:path w="1965960" h="1374775">
                  <a:moveTo>
                    <a:pt x="1960490" y="619097"/>
                  </a:moveTo>
                  <a:lnTo>
                    <a:pt x="4961" y="619097"/>
                  </a:lnTo>
                  <a:lnTo>
                    <a:pt x="4779" y="623649"/>
                  </a:lnTo>
                  <a:lnTo>
                    <a:pt x="1960855" y="623649"/>
                  </a:lnTo>
                  <a:lnTo>
                    <a:pt x="1960490" y="619097"/>
                  </a:lnTo>
                  <a:close/>
                </a:path>
                <a:path w="1965960" h="1374775">
                  <a:moveTo>
                    <a:pt x="1957668" y="600888"/>
                  </a:moveTo>
                  <a:lnTo>
                    <a:pt x="7738" y="600888"/>
                  </a:lnTo>
                  <a:lnTo>
                    <a:pt x="7511" y="605441"/>
                  </a:lnTo>
                  <a:lnTo>
                    <a:pt x="7010" y="605441"/>
                  </a:lnTo>
                  <a:lnTo>
                    <a:pt x="6737" y="609993"/>
                  </a:lnTo>
                  <a:lnTo>
                    <a:pt x="5371" y="619097"/>
                  </a:lnTo>
                  <a:lnTo>
                    <a:pt x="1960035" y="619097"/>
                  </a:lnTo>
                  <a:lnTo>
                    <a:pt x="1959853" y="614545"/>
                  </a:lnTo>
                  <a:lnTo>
                    <a:pt x="1958943" y="609993"/>
                  </a:lnTo>
                  <a:lnTo>
                    <a:pt x="1958669" y="609993"/>
                  </a:lnTo>
                  <a:lnTo>
                    <a:pt x="1958214" y="605441"/>
                  </a:lnTo>
                  <a:lnTo>
                    <a:pt x="1957668" y="600888"/>
                  </a:lnTo>
                  <a:close/>
                </a:path>
                <a:path w="1965960" h="1374775">
                  <a:moveTo>
                    <a:pt x="1955756" y="591784"/>
                  </a:moveTo>
                  <a:lnTo>
                    <a:pt x="9650" y="591784"/>
                  </a:lnTo>
                  <a:lnTo>
                    <a:pt x="8011" y="600888"/>
                  </a:lnTo>
                  <a:lnTo>
                    <a:pt x="1957440" y="600888"/>
                  </a:lnTo>
                  <a:lnTo>
                    <a:pt x="1956348" y="596336"/>
                  </a:lnTo>
                  <a:lnTo>
                    <a:pt x="1956075" y="596336"/>
                  </a:lnTo>
                  <a:lnTo>
                    <a:pt x="1955756" y="591784"/>
                  </a:lnTo>
                  <a:close/>
                </a:path>
                <a:path w="1965960" h="1374775">
                  <a:moveTo>
                    <a:pt x="1954573" y="587232"/>
                  </a:moveTo>
                  <a:lnTo>
                    <a:pt x="10561" y="587232"/>
                  </a:lnTo>
                  <a:lnTo>
                    <a:pt x="10242" y="591784"/>
                  </a:lnTo>
                  <a:lnTo>
                    <a:pt x="1955210" y="591784"/>
                  </a:lnTo>
                  <a:lnTo>
                    <a:pt x="1954573" y="587232"/>
                  </a:lnTo>
                  <a:close/>
                </a:path>
                <a:path w="1965960" h="1374775">
                  <a:moveTo>
                    <a:pt x="1953025" y="578127"/>
                  </a:moveTo>
                  <a:lnTo>
                    <a:pt x="12427" y="578127"/>
                  </a:lnTo>
                  <a:lnTo>
                    <a:pt x="12108" y="582680"/>
                  </a:lnTo>
                  <a:lnTo>
                    <a:pt x="11152" y="587232"/>
                  </a:lnTo>
                  <a:lnTo>
                    <a:pt x="1954299" y="587232"/>
                  </a:lnTo>
                  <a:lnTo>
                    <a:pt x="1953343" y="582680"/>
                  </a:lnTo>
                  <a:lnTo>
                    <a:pt x="1953025" y="578127"/>
                  </a:lnTo>
                  <a:close/>
                </a:path>
                <a:path w="1965960" h="1374775">
                  <a:moveTo>
                    <a:pt x="1952023" y="573575"/>
                  </a:moveTo>
                  <a:lnTo>
                    <a:pt x="13428" y="573575"/>
                  </a:lnTo>
                  <a:lnTo>
                    <a:pt x="13064" y="578127"/>
                  </a:lnTo>
                  <a:lnTo>
                    <a:pt x="1952661" y="578127"/>
                  </a:lnTo>
                  <a:lnTo>
                    <a:pt x="1952023" y="573575"/>
                  </a:lnTo>
                  <a:close/>
                </a:path>
                <a:path w="1965960" h="1374775">
                  <a:moveTo>
                    <a:pt x="1946834" y="555366"/>
                  </a:moveTo>
                  <a:lnTo>
                    <a:pt x="18208" y="555366"/>
                  </a:lnTo>
                  <a:lnTo>
                    <a:pt x="17389" y="559919"/>
                  </a:lnTo>
                  <a:lnTo>
                    <a:pt x="16661" y="564471"/>
                  </a:lnTo>
                  <a:lnTo>
                    <a:pt x="15887" y="564471"/>
                  </a:lnTo>
                  <a:lnTo>
                    <a:pt x="15522" y="569023"/>
                  </a:lnTo>
                  <a:lnTo>
                    <a:pt x="14794" y="569023"/>
                  </a:lnTo>
                  <a:lnTo>
                    <a:pt x="14475" y="573575"/>
                  </a:lnTo>
                  <a:lnTo>
                    <a:pt x="1951340" y="573575"/>
                  </a:lnTo>
                  <a:lnTo>
                    <a:pt x="1949884" y="569023"/>
                  </a:lnTo>
                  <a:lnTo>
                    <a:pt x="1949520" y="564471"/>
                  </a:lnTo>
                  <a:lnTo>
                    <a:pt x="1948427" y="559919"/>
                  </a:lnTo>
                  <a:lnTo>
                    <a:pt x="1947653" y="559919"/>
                  </a:lnTo>
                  <a:lnTo>
                    <a:pt x="1946834" y="555366"/>
                  </a:lnTo>
                  <a:close/>
                </a:path>
                <a:path w="1965960" h="1374775">
                  <a:moveTo>
                    <a:pt x="1943966" y="546262"/>
                  </a:moveTo>
                  <a:lnTo>
                    <a:pt x="21031" y="546262"/>
                  </a:lnTo>
                  <a:lnTo>
                    <a:pt x="18572" y="555366"/>
                  </a:lnTo>
                  <a:lnTo>
                    <a:pt x="1946470" y="555366"/>
                  </a:lnTo>
                  <a:lnTo>
                    <a:pt x="1945241" y="550814"/>
                  </a:lnTo>
                  <a:lnTo>
                    <a:pt x="1944785" y="550814"/>
                  </a:lnTo>
                  <a:lnTo>
                    <a:pt x="1943966" y="546262"/>
                  </a:lnTo>
                  <a:close/>
                </a:path>
                <a:path w="1965960" h="1374775">
                  <a:moveTo>
                    <a:pt x="1943101" y="541710"/>
                  </a:moveTo>
                  <a:lnTo>
                    <a:pt x="22351" y="541710"/>
                  </a:lnTo>
                  <a:lnTo>
                    <a:pt x="21896" y="546262"/>
                  </a:lnTo>
                  <a:lnTo>
                    <a:pt x="1943511" y="546262"/>
                  </a:lnTo>
                  <a:lnTo>
                    <a:pt x="1943101" y="541710"/>
                  </a:lnTo>
                  <a:close/>
                </a:path>
                <a:path w="1965960" h="1374775">
                  <a:moveTo>
                    <a:pt x="1940415" y="532606"/>
                  </a:moveTo>
                  <a:lnTo>
                    <a:pt x="25037" y="532606"/>
                  </a:lnTo>
                  <a:lnTo>
                    <a:pt x="24581" y="537158"/>
                  </a:lnTo>
                  <a:lnTo>
                    <a:pt x="22760" y="541710"/>
                  </a:lnTo>
                  <a:lnTo>
                    <a:pt x="1942236" y="541710"/>
                  </a:lnTo>
                  <a:lnTo>
                    <a:pt x="1940870" y="537158"/>
                  </a:lnTo>
                  <a:lnTo>
                    <a:pt x="1940415" y="532606"/>
                  </a:lnTo>
                  <a:close/>
                </a:path>
                <a:path w="1965960" h="1374775">
                  <a:moveTo>
                    <a:pt x="1938503" y="528053"/>
                  </a:moveTo>
                  <a:lnTo>
                    <a:pt x="26903" y="528053"/>
                  </a:lnTo>
                  <a:lnTo>
                    <a:pt x="26448" y="532606"/>
                  </a:lnTo>
                  <a:lnTo>
                    <a:pt x="1939004" y="532606"/>
                  </a:lnTo>
                  <a:lnTo>
                    <a:pt x="1938503" y="528053"/>
                  </a:lnTo>
                  <a:close/>
                </a:path>
                <a:path w="1965960" h="1374775">
                  <a:moveTo>
                    <a:pt x="1937047" y="523501"/>
                  </a:moveTo>
                  <a:lnTo>
                    <a:pt x="28860" y="523501"/>
                  </a:lnTo>
                  <a:lnTo>
                    <a:pt x="27859" y="528053"/>
                  </a:lnTo>
                  <a:lnTo>
                    <a:pt x="1938048" y="528053"/>
                  </a:lnTo>
                  <a:lnTo>
                    <a:pt x="1937047" y="523501"/>
                  </a:lnTo>
                  <a:close/>
                </a:path>
                <a:path w="1965960" h="1374775">
                  <a:moveTo>
                    <a:pt x="1935089" y="518949"/>
                  </a:moveTo>
                  <a:lnTo>
                    <a:pt x="30363" y="518949"/>
                  </a:lnTo>
                  <a:lnTo>
                    <a:pt x="29361" y="523501"/>
                  </a:lnTo>
                  <a:lnTo>
                    <a:pt x="1936091" y="523501"/>
                  </a:lnTo>
                  <a:lnTo>
                    <a:pt x="1935089" y="518949"/>
                  </a:lnTo>
                  <a:close/>
                </a:path>
                <a:path w="1965960" h="1374775">
                  <a:moveTo>
                    <a:pt x="1933541" y="514397"/>
                  </a:moveTo>
                  <a:lnTo>
                    <a:pt x="31410" y="514397"/>
                  </a:lnTo>
                  <a:lnTo>
                    <a:pt x="30863" y="518949"/>
                  </a:lnTo>
                  <a:lnTo>
                    <a:pt x="1934543" y="518949"/>
                  </a:lnTo>
                  <a:lnTo>
                    <a:pt x="1933541" y="514397"/>
                  </a:lnTo>
                  <a:close/>
                </a:path>
                <a:path w="1965960" h="1374775">
                  <a:moveTo>
                    <a:pt x="1931948" y="509845"/>
                  </a:moveTo>
                  <a:lnTo>
                    <a:pt x="33504" y="509845"/>
                  </a:lnTo>
                  <a:lnTo>
                    <a:pt x="32411" y="514397"/>
                  </a:lnTo>
                  <a:lnTo>
                    <a:pt x="1932494" y="514397"/>
                  </a:lnTo>
                  <a:lnTo>
                    <a:pt x="1931948" y="509845"/>
                  </a:lnTo>
                  <a:close/>
                </a:path>
                <a:path w="1965960" h="1374775">
                  <a:moveTo>
                    <a:pt x="1930309" y="505292"/>
                  </a:moveTo>
                  <a:lnTo>
                    <a:pt x="35097" y="505292"/>
                  </a:lnTo>
                  <a:lnTo>
                    <a:pt x="34551" y="509845"/>
                  </a:lnTo>
                  <a:lnTo>
                    <a:pt x="1930856" y="509845"/>
                  </a:lnTo>
                  <a:lnTo>
                    <a:pt x="1930309" y="505292"/>
                  </a:lnTo>
                  <a:close/>
                </a:path>
                <a:path w="1965960" h="1374775">
                  <a:moveTo>
                    <a:pt x="1928671" y="500740"/>
                  </a:moveTo>
                  <a:lnTo>
                    <a:pt x="36781" y="500740"/>
                  </a:lnTo>
                  <a:lnTo>
                    <a:pt x="36189" y="505292"/>
                  </a:lnTo>
                  <a:lnTo>
                    <a:pt x="1929217" y="505292"/>
                  </a:lnTo>
                  <a:lnTo>
                    <a:pt x="1928671" y="500740"/>
                  </a:lnTo>
                  <a:close/>
                </a:path>
                <a:path w="1965960" h="1374775">
                  <a:moveTo>
                    <a:pt x="1926394" y="496188"/>
                  </a:moveTo>
                  <a:lnTo>
                    <a:pt x="39012" y="496188"/>
                  </a:lnTo>
                  <a:lnTo>
                    <a:pt x="38465" y="500740"/>
                  </a:lnTo>
                  <a:lnTo>
                    <a:pt x="1926986" y="500740"/>
                  </a:lnTo>
                  <a:lnTo>
                    <a:pt x="1926394" y="496188"/>
                  </a:lnTo>
                  <a:close/>
                </a:path>
                <a:path w="1965960" h="1374775">
                  <a:moveTo>
                    <a:pt x="1924665" y="491636"/>
                  </a:moveTo>
                  <a:lnTo>
                    <a:pt x="40742" y="491636"/>
                  </a:lnTo>
                  <a:lnTo>
                    <a:pt x="40195" y="496188"/>
                  </a:lnTo>
                  <a:lnTo>
                    <a:pt x="1925848" y="496188"/>
                  </a:lnTo>
                  <a:lnTo>
                    <a:pt x="1924665" y="491636"/>
                  </a:lnTo>
                  <a:close/>
                </a:path>
                <a:path w="1965960" h="1374775">
                  <a:moveTo>
                    <a:pt x="1922889" y="487084"/>
                  </a:moveTo>
                  <a:lnTo>
                    <a:pt x="42562" y="487084"/>
                  </a:lnTo>
                  <a:lnTo>
                    <a:pt x="41925" y="491636"/>
                  </a:lnTo>
                  <a:lnTo>
                    <a:pt x="1924073" y="491636"/>
                  </a:lnTo>
                  <a:lnTo>
                    <a:pt x="1922889" y="487084"/>
                  </a:lnTo>
                  <a:close/>
                </a:path>
                <a:path w="1965960" h="1374775">
                  <a:moveTo>
                    <a:pt x="1921068" y="482531"/>
                  </a:moveTo>
                  <a:lnTo>
                    <a:pt x="44338" y="482531"/>
                  </a:lnTo>
                  <a:lnTo>
                    <a:pt x="43154" y="487084"/>
                  </a:lnTo>
                  <a:lnTo>
                    <a:pt x="1921706" y="487084"/>
                  </a:lnTo>
                  <a:lnTo>
                    <a:pt x="1921068" y="482531"/>
                  </a:lnTo>
                  <a:close/>
                </a:path>
                <a:path w="1965960" h="1374775">
                  <a:moveTo>
                    <a:pt x="1914741" y="468875"/>
                  </a:moveTo>
                  <a:lnTo>
                    <a:pt x="50665" y="468875"/>
                  </a:lnTo>
                  <a:lnTo>
                    <a:pt x="45567" y="482531"/>
                  </a:lnTo>
                  <a:lnTo>
                    <a:pt x="1919248" y="482531"/>
                  </a:lnTo>
                  <a:lnTo>
                    <a:pt x="1915424" y="473427"/>
                  </a:lnTo>
                  <a:lnTo>
                    <a:pt x="1914741" y="468875"/>
                  </a:lnTo>
                  <a:close/>
                </a:path>
                <a:path w="1965960" h="1374775">
                  <a:moveTo>
                    <a:pt x="1908049" y="455218"/>
                  </a:moveTo>
                  <a:lnTo>
                    <a:pt x="57403" y="455218"/>
                  </a:lnTo>
                  <a:lnTo>
                    <a:pt x="56720" y="459771"/>
                  </a:lnTo>
                  <a:lnTo>
                    <a:pt x="53306" y="464323"/>
                  </a:lnTo>
                  <a:lnTo>
                    <a:pt x="52668" y="468875"/>
                  </a:lnTo>
                  <a:lnTo>
                    <a:pt x="1913466" y="468875"/>
                  </a:lnTo>
                  <a:lnTo>
                    <a:pt x="1912101" y="464323"/>
                  </a:lnTo>
                  <a:lnTo>
                    <a:pt x="1911463" y="464323"/>
                  </a:lnTo>
                  <a:lnTo>
                    <a:pt x="1908732" y="459771"/>
                  </a:lnTo>
                  <a:lnTo>
                    <a:pt x="1908049" y="455218"/>
                  </a:lnTo>
                  <a:close/>
                </a:path>
                <a:path w="1965960" h="1374775">
                  <a:moveTo>
                    <a:pt x="1905227" y="450666"/>
                  </a:moveTo>
                  <a:lnTo>
                    <a:pt x="60225" y="450666"/>
                  </a:lnTo>
                  <a:lnTo>
                    <a:pt x="59497" y="455218"/>
                  </a:lnTo>
                  <a:lnTo>
                    <a:pt x="1905955" y="455218"/>
                  </a:lnTo>
                  <a:lnTo>
                    <a:pt x="1905227" y="450666"/>
                  </a:lnTo>
                  <a:close/>
                </a:path>
                <a:path w="1965960" h="1374775">
                  <a:moveTo>
                    <a:pt x="1903087" y="446114"/>
                  </a:moveTo>
                  <a:lnTo>
                    <a:pt x="62364" y="446114"/>
                  </a:lnTo>
                  <a:lnTo>
                    <a:pt x="61636" y="450666"/>
                  </a:lnTo>
                  <a:lnTo>
                    <a:pt x="1903816" y="450666"/>
                  </a:lnTo>
                  <a:lnTo>
                    <a:pt x="1903087" y="446114"/>
                  </a:lnTo>
                  <a:close/>
                </a:path>
                <a:path w="1965960" h="1374775">
                  <a:moveTo>
                    <a:pt x="1900174" y="441562"/>
                  </a:moveTo>
                  <a:lnTo>
                    <a:pt x="65278" y="441562"/>
                  </a:lnTo>
                  <a:lnTo>
                    <a:pt x="64550" y="446114"/>
                  </a:lnTo>
                  <a:lnTo>
                    <a:pt x="1900902" y="446114"/>
                  </a:lnTo>
                  <a:lnTo>
                    <a:pt x="1900174" y="441562"/>
                  </a:lnTo>
                  <a:close/>
                </a:path>
                <a:path w="1965960" h="1374775">
                  <a:moveTo>
                    <a:pt x="1897943" y="437010"/>
                  </a:moveTo>
                  <a:lnTo>
                    <a:pt x="67508" y="437010"/>
                  </a:lnTo>
                  <a:lnTo>
                    <a:pt x="66780" y="441562"/>
                  </a:lnTo>
                  <a:lnTo>
                    <a:pt x="1898672" y="441562"/>
                  </a:lnTo>
                  <a:lnTo>
                    <a:pt x="1897943" y="437010"/>
                  </a:lnTo>
                  <a:close/>
                </a:path>
                <a:path w="1965960" h="1374775">
                  <a:moveTo>
                    <a:pt x="1895667" y="432457"/>
                  </a:moveTo>
                  <a:lnTo>
                    <a:pt x="69785" y="432457"/>
                  </a:lnTo>
                  <a:lnTo>
                    <a:pt x="69011" y="437010"/>
                  </a:lnTo>
                  <a:lnTo>
                    <a:pt x="1896441" y="437010"/>
                  </a:lnTo>
                  <a:lnTo>
                    <a:pt x="1895667" y="432457"/>
                  </a:lnTo>
                  <a:close/>
                </a:path>
                <a:path w="1965960" h="1374775">
                  <a:moveTo>
                    <a:pt x="1891798" y="427905"/>
                  </a:moveTo>
                  <a:lnTo>
                    <a:pt x="73608" y="427905"/>
                  </a:lnTo>
                  <a:lnTo>
                    <a:pt x="72061" y="432457"/>
                  </a:lnTo>
                  <a:lnTo>
                    <a:pt x="1893346" y="432457"/>
                  </a:lnTo>
                  <a:lnTo>
                    <a:pt x="1891798" y="427905"/>
                  </a:lnTo>
                  <a:close/>
                </a:path>
                <a:path w="1965960" h="1374775">
                  <a:moveTo>
                    <a:pt x="1890250" y="423353"/>
                  </a:moveTo>
                  <a:lnTo>
                    <a:pt x="75976" y="423353"/>
                  </a:lnTo>
                  <a:lnTo>
                    <a:pt x="74428" y="427905"/>
                  </a:lnTo>
                  <a:lnTo>
                    <a:pt x="1891024" y="427905"/>
                  </a:lnTo>
                  <a:lnTo>
                    <a:pt x="1890250" y="423353"/>
                  </a:lnTo>
                  <a:close/>
                </a:path>
                <a:path w="1965960" h="1374775">
                  <a:moveTo>
                    <a:pt x="1881328" y="409696"/>
                  </a:moveTo>
                  <a:lnTo>
                    <a:pt x="84943" y="409696"/>
                  </a:lnTo>
                  <a:lnTo>
                    <a:pt x="78388" y="418801"/>
                  </a:lnTo>
                  <a:lnTo>
                    <a:pt x="77569" y="423353"/>
                  </a:lnTo>
                  <a:lnTo>
                    <a:pt x="1887837" y="423353"/>
                  </a:lnTo>
                  <a:lnTo>
                    <a:pt x="1887064" y="418801"/>
                  </a:lnTo>
                  <a:lnTo>
                    <a:pt x="1881328" y="409696"/>
                  </a:lnTo>
                  <a:close/>
                </a:path>
                <a:path w="1965960" h="1374775">
                  <a:moveTo>
                    <a:pt x="1878779" y="405144"/>
                  </a:moveTo>
                  <a:lnTo>
                    <a:pt x="86628" y="405144"/>
                  </a:lnTo>
                  <a:lnTo>
                    <a:pt x="85808" y="409696"/>
                  </a:lnTo>
                  <a:lnTo>
                    <a:pt x="1879644" y="409696"/>
                  </a:lnTo>
                  <a:lnTo>
                    <a:pt x="1878779" y="405144"/>
                  </a:lnTo>
                  <a:close/>
                </a:path>
                <a:path w="1965960" h="1374775">
                  <a:moveTo>
                    <a:pt x="1875364" y="400592"/>
                  </a:moveTo>
                  <a:lnTo>
                    <a:pt x="89177" y="400592"/>
                  </a:lnTo>
                  <a:lnTo>
                    <a:pt x="88357" y="405144"/>
                  </a:lnTo>
                  <a:lnTo>
                    <a:pt x="1877959" y="405144"/>
                  </a:lnTo>
                  <a:lnTo>
                    <a:pt x="1875364" y="400592"/>
                  </a:lnTo>
                  <a:close/>
                </a:path>
                <a:path w="1965960" h="1374775">
                  <a:moveTo>
                    <a:pt x="1871905" y="396040"/>
                  </a:moveTo>
                  <a:lnTo>
                    <a:pt x="92637" y="396040"/>
                  </a:lnTo>
                  <a:lnTo>
                    <a:pt x="90907" y="400592"/>
                  </a:lnTo>
                  <a:lnTo>
                    <a:pt x="1874500" y="400592"/>
                  </a:lnTo>
                  <a:lnTo>
                    <a:pt x="1871905" y="396040"/>
                  </a:lnTo>
                  <a:close/>
                </a:path>
                <a:path w="1965960" h="1374775">
                  <a:moveTo>
                    <a:pt x="1870129" y="391488"/>
                  </a:moveTo>
                  <a:lnTo>
                    <a:pt x="95277" y="391488"/>
                  </a:lnTo>
                  <a:lnTo>
                    <a:pt x="94412" y="396040"/>
                  </a:lnTo>
                  <a:lnTo>
                    <a:pt x="1871040" y="396040"/>
                  </a:lnTo>
                  <a:lnTo>
                    <a:pt x="1870129" y="391488"/>
                  </a:lnTo>
                  <a:close/>
                </a:path>
                <a:path w="1965960" h="1374775">
                  <a:moveTo>
                    <a:pt x="1866579" y="386935"/>
                  </a:moveTo>
                  <a:lnTo>
                    <a:pt x="98873" y="386935"/>
                  </a:lnTo>
                  <a:lnTo>
                    <a:pt x="97963" y="391488"/>
                  </a:lnTo>
                  <a:lnTo>
                    <a:pt x="1867489" y="391488"/>
                  </a:lnTo>
                  <a:lnTo>
                    <a:pt x="1866579" y="386935"/>
                  </a:lnTo>
                  <a:close/>
                </a:path>
                <a:path w="1965960" h="1374775">
                  <a:moveTo>
                    <a:pt x="1862937" y="382383"/>
                  </a:moveTo>
                  <a:lnTo>
                    <a:pt x="102469" y="382383"/>
                  </a:lnTo>
                  <a:lnTo>
                    <a:pt x="100648" y="386935"/>
                  </a:lnTo>
                  <a:lnTo>
                    <a:pt x="1864758" y="386935"/>
                  </a:lnTo>
                  <a:lnTo>
                    <a:pt x="1862937" y="382383"/>
                  </a:lnTo>
                  <a:close/>
                </a:path>
                <a:path w="1965960" h="1374775">
                  <a:moveTo>
                    <a:pt x="1860206" y="377831"/>
                  </a:moveTo>
                  <a:lnTo>
                    <a:pt x="105246" y="377831"/>
                  </a:lnTo>
                  <a:lnTo>
                    <a:pt x="103425" y="382383"/>
                  </a:lnTo>
                  <a:lnTo>
                    <a:pt x="1862027" y="382383"/>
                  </a:lnTo>
                  <a:lnTo>
                    <a:pt x="1860206" y="377831"/>
                  </a:lnTo>
                  <a:close/>
                </a:path>
                <a:path w="1965960" h="1374775">
                  <a:moveTo>
                    <a:pt x="1856427" y="373279"/>
                  </a:moveTo>
                  <a:lnTo>
                    <a:pt x="108068" y="373279"/>
                  </a:lnTo>
                  <a:lnTo>
                    <a:pt x="107112" y="377831"/>
                  </a:lnTo>
                  <a:lnTo>
                    <a:pt x="1858339" y="377831"/>
                  </a:lnTo>
                  <a:lnTo>
                    <a:pt x="1856427" y="373279"/>
                  </a:lnTo>
                  <a:close/>
                </a:path>
                <a:path w="1965960" h="1374775">
                  <a:moveTo>
                    <a:pt x="1849781" y="364175"/>
                  </a:moveTo>
                  <a:lnTo>
                    <a:pt x="116627" y="364175"/>
                  </a:lnTo>
                  <a:lnTo>
                    <a:pt x="108979" y="373279"/>
                  </a:lnTo>
                  <a:lnTo>
                    <a:pt x="1855517" y="373279"/>
                  </a:lnTo>
                  <a:lnTo>
                    <a:pt x="1849781" y="364175"/>
                  </a:lnTo>
                  <a:close/>
                </a:path>
                <a:path w="1965960" h="1374775">
                  <a:moveTo>
                    <a:pt x="1842907" y="355070"/>
                  </a:moveTo>
                  <a:lnTo>
                    <a:pt x="123546" y="355070"/>
                  </a:lnTo>
                  <a:lnTo>
                    <a:pt x="118584" y="359622"/>
                  </a:lnTo>
                  <a:lnTo>
                    <a:pt x="117628" y="364175"/>
                  </a:lnTo>
                  <a:lnTo>
                    <a:pt x="1847824" y="364175"/>
                  </a:lnTo>
                  <a:lnTo>
                    <a:pt x="1846822" y="359622"/>
                  </a:lnTo>
                  <a:lnTo>
                    <a:pt x="1843863" y="359622"/>
                  </a:lnTo>
                  <a:lnTo>
                    <a:pt x="1842907" y="355070"/>
                  </a:lnTo>
                  <a:close/>
                </a:path>
                <a:path w="1965960" h="1374775">
                  <a:moveTo>
                    <a:pt x="1839903" y="350518"/>
                  </a:moveTo>
                  <a:lnTo>
                    <a:pt x="126550" y="350518"/>
                  </a:lnTo>
                  <a:lnTo>
                    <a:pt x="124547" y="355070"/>
                  </a:lnTo>
                  <a:lnTo>
                    <a:pt x="1840904" y="355070"/>
                  </a:lnTo>
                  <a:lnTo>
                    <a:pt x="1839903" y="350518"/>
                  </a:lnTo>
                  <a:close/>
                </a:path>
                <a:path w="1965960" h="1374775">
                  <a:moveTo>
                    <a:pt x="1835806" y="345966"/>
                  </a:moveTo>
                  <a:lnTo>
                    <a:pt x="131649" y="345966"/>
                  </a:lnTo>
                  <a:lnTo>
                    <a:pt x="128599" y="350518"/>
                  </a:lnTo>
                  <a:lnTo>
                    <a:pt x="1836853" y="350518"/>
                  </a:lnTo>
                  <a:lnTo>
                    <a:pt x="1835806" y="345966"/>
                  </a:lnTo>
                  <a:close/>
                </a:path>
                <a:path w="1965960" h="1374775">
                  <a:moveTo>
                    <a:pt x="1831709" y="341414"/>
                  </a:moveTo>
                  <a:lnTo>
                    <a:pt x="134744" y="341414"/>
                  </a:lnTo>
                  <a:lnTo>
                    <a:pt x="132696" y="345966"/>
                  </a:lnTo>
                  <a:lnTo>
                    <a:pt x="1833757" y="345966"/>
                  </a:lnTo>
                  <a:lnTo>
                    <a:pt x="1831709" y="341414"/>
                  </a:lnTo>
                  <a:close/>
                </a:path>
                <a:path w="1965960" h="1374775">
                  <a:moveTo>
                    <a:pt x="1822240" y="332309"/>
                  </a:moveTo>
                  <a:lnTo>
                    <a:pt x="141072" y="332309"/>
                  </a:lnTo>
                  <a:lnTo>
                    <a:pt x="138978" y="336861"/>
                  </a:lnTo>
                  <a:lnTo>
                    <a:pt x="136838" y="336861"/>
                  </a:lnTo>
                  <a:lnTo>
                    <a:pt x="135791" y="341414"/>
                  </a:lnTo>
                  <a:lnTo>
                    <a:pt x="1829615" y="341414"/>
                  </a:lnTo>
                  <a:lnTo>
                    <a:pt x="1828568" y="336861"/>
                  </a:lnTo>
                  <a:lnTo>
                    <a:pt x="1822240" y="332309"/>
                  </a:lnTo>
                  <a:close/>
                </a:path>
                <a:path w="1965960" h="1374775">
                  <a:moveTo>
                    <a:pt x="1820101" y="327757"/>
                  </a:moveTo>
                  <a:lnTo>
                    <a:pt x="146443" y="327757"/>
                  </a:lnTo>
                  <a:lnTo>
                    <a:pt x="144258" y="332309"/>
                  </a:lnTo>
                  <a:lnTo>
                    <a:pt x="1821148" y="332309"/>
                  </a:lnTo>
                  <a:lnTo>
                    <a:pt x="1820101" y="327757"/>
                  </a:lnTo>
                  <a:close/>
                </a:path>
                <a:path w="1965960" h="1374775">
                  <a:moveTo>
                    <a:pt x="1812453" y="318653"/>
                  </a:moveTo>
                  <a:lnTo>
                    <a:pt x="154091" y="318653"/>
                  </a:lnTo>
                  <a:lnTo>
                    <a:pt x="151860" y="323205"/>
                  </a:lnTo>
                  <a:lnTo>
                    <a:pt x="148583" y="323205"/>
                  </a:lnTo>
                  <a:lnTo>
                    <a:pt x="147536" y="327757"/>
                  </a:lnTo>
                  <a:lnTo>
                    <a:pt x="1817916" y="327757"/>
                  </a:lnTo>
                  <a:lnTo>
                    <a:pt x="1812453" y="318653"/>
                  </a:lnTo>
                  <a:close/>
                </a:path>
                <a:path w="1965960" h="1374775">
                  <a:moveTo>
                    <a:pt x="1800117" y="304996"/>
                  </a:moveTo>
                  <a:lnTo>
                    <a:pt x="165335" y="304996"/>
                  </a:lnTo>
                  <a:lnTo>
                    <a:pt x="163059" y="309548"/>
                  </a:lnTo>
                  <a:lnTo>
                    <a:pt x="161921" y="309548"/>
                  </a:lnTo>
                  <a:lnTo>
                    <a:pt x="160783" y="314100"/>
                  </a:lnTo>
                  <a:lnTo>
                    <a:pt x="155184" y="318653"/>
                  </a:lnTo>
                  <a:lnTo>
                    <a:pt x="1809130" y="318653"/>
                  </a:lnTo>
                  <a:lnTo>
                    <a:pt x="1807992" y="314100"/>
                  </a:lnTo>
                  <a:lnTo>
                    <a:pt x="1805761" y="314100"/>
                  </a:lnTo>
                  <a:lnTo>
                    <a:pt x="1802393" y="309548"/>
                  </a:lnTo>
                  <a:lnTo>
                    <a:pt x="1800117" y="304996"/>
                  </a:lnTo>
                  <a:close/>
                </a:path>
                <a:path w="1965960" h="1374775">
                  <a:moveTo>
                    <a:pt x="1795519" y="300444"/>
                  </a:moveTo>
                  <a:lnTo>
                    <a:pt x="172254" y="300444"/>
                  </a:lnTo>
                  <a:lnTo>
                    <a:pt x="168795" y="304996"/>
                  </a:lnTo>
                  <a:lnTo>
                    <a:pt x="1797795" y="304996"/>
                  </a:lnTo>
                  <a:lnTo>
                    <a:pt x="1795519" y="300444"/>
                  </a:lnTo>
                  <a:close/>
                </a:path>
                <a:path w="1965960" h="1374775">
                  <a:moveTo>
                    <a:pt x="1790830" y="295892"/>
                  </a:moveTo>
                  <a:lnTo>
                    <a:pt x="174576" y="295892"/>
                  </a:lnTo>
                  <a:lnTo>
                    <a:pt x="173438" y="300444"/>
                  </a:lnTo>
                  <a:lnTo>
                    <a:pt x="1793197" y="300444"/>
                  </a:lnTo>
                  <a:lnTo>
                    <a:pt x="1790830" y="295892"/>
                  </a:lnTo>
                  <a:close/>
                </a:path>
                <a:path w="1965960" h="1374775">
                  <a:moveTo>
                    <a:pt x="1786142" y="291340"/>
                  </a:moveTo>
                  <a:lnTo>
                    <a:pt x="179310" y="291340"/>
                  </a:lnTo>
                  <a:lnTo>
                    <a:pt x="178127" y="295892"/>
                  </a:lnTo>
                  <a:lnTo>
                    <a:pt x="1787325" y="295892"/>
                  </a:lnTo>
                  <a:lnTo>
                    <a:pt x="1786142" y="291340"/>
                  </a:lnTo>
                  <a:close/>
                </a:path>
                <a:path w="1965960" h="1374775">
                  <a:moveTo>
                    <a:pt x="1781362" y="286787"/>
                  </a:moveTo>
                  <a:lnTo>
                    <a:pt x="185274" y="286787"/>
                  </a:lnTo>
                  <a:lnTo>
                    <a:pt x="182861" y="291340"/>
                  </a:lnTo>
                  <a:lnTo>
                    <a:pt x="1782545" y="291340"/>
                  </a:lnTo>
                  <a:lnTo>
                    <a:pt x="1781362" y="286787"/>
                  </a:lnTo>
                  <a:close/>
                </a:path>
                <a:path w="1965960" h="1374775">
                  <a:moveTo>
                    <a:pt x="1776536" y="282235"/>
                  </a:moveTo>
                  <a:lnTo>
                    <a:pt x="188915" y="282235"/>
                  </a:lnTo>
                  <a:lnTo>
                    <a:pt x="187686" y="286787"/>
                  </a:lnTo>
                  <a:lnTo>
                    <a:pt x="1777766" y="286787"/>
                  </a:lnTo>
                  <a:lnTo>
                    <a:pt x="1776536" y="282235"/>
                  </a:lnTo>
                  <a:close/>
                </a:path>
                <a:path w="1965960" h="1374775">
                  <a:moveTo>
                    <a:pt x="1771666" y="277683"/>
                  </a:moveTo>
                  <a:lnTo>
                    <a:pt x="193786" y="277683"/>
                  </a:lnTo>
                  <a:lnTo>
                    <a:pt x="192557" y="282235"/>
                  </a:lnTo>
                  <a:lnTo>
                    <a:pt x="1772895" y="282235"/>
                  </a:lnTo>
                  <a:lnTo>
                    <a:pt x="1771666" y="277683"/>
                  </a:lnTo>
                  <a:close/>
                </a:path>
                <a:path w="1965960" h="1374775">
                  <a:moveTo>
                    <a:pt x="1764246" y="273131"/>
                  </a:moveTo>
                  <a:lnTo>
                    <a:pt x="198703" y="273131"/>
                  </a:lnTo>
                  <a:lnTo>
                    <a:pt x="197473" y="277683"/>
                  </a:lnTo>
                  <a:lnTo>
                    <a:pt x="1770437" y="277683"/>
                  </a:lnTo>
                  <a:lnTo>
                    <a:pt x="1764246" y="273131"/>
                  </a:lnTo>
                  <a:close/>
                </a:path>
                <a:path w="1965960" h="1374775">
                  <a:moveTo>
                    <a:pt x="1761742" y="268579"/>
                  </a:moveTo>
                  <a:lnTo>
                    <a:pt x="203710" y="268579"/>
                  </a:lnTo>
                  <a:lnTo>
                    <a:pt x="202435" y="273131"/>
                  </a:lnTo>
                  <a:lnTo>
                    <a:pt x="1762971" y="273131"/>
                  </a:lnTo>
                  <a:lnTo>
                    <a:pt x="1761742" y="268579"/>
                  </a:lnTo>
                  <a:close/>
                </a:path>
                <a:path w="1965960" h="1374775">
                  <a:moveTo>
                    <a:pt x="1751590" y="259474"/>
                  </a:moveTo>
                  <a:lnTo>
                    <a:pt x="213861" y="259474"/>
                  </a:lnTo>
                  <a:lnTo>
                    <a:pt x="204939" y="268579"/>
                  </a:lnTo>
                  <a:lnTo>
                    <a:pt x="1759238" y="268579"/>
                  </a:lnTo>
                  <a:lnTo>
                    <a:pt x="1751590" y="259474"/>
                  </a:lnTo>
                  <a:close/>
                </a:path>
                <a:path w="1965960" h="1374775">
                  <a:moveTo>
                    <a:pt x="1741211" y="250370"/>
                  </a:moveTo>
                  <a:lnTo>
                    <a:pt x="225515" y="250370"/>
                  </a:lnTo>
                  <a:lnTo>
                    <a:pt x="221600" y="254922"/>
                  </a:lnTo>
                  <a:lnTo>
                    <a:pt x="219005" y="254922"/>
                  </a:lnTo>
                  <a:lnTo>
                    <a:pt x="216411" y="259474"/>
                  </a:lnTo>
                  <a:lnTo>
                    <a:pt x="1747721" y="259474"/>
                  </a:lnTo>
                  <a:lnTo>
                    <a:pt x="1742532" y="254922"/>
                  </a:lnTo>
                  <a:lnTo>
                    <a:pt x="1741211" y="250370"/>
                  </a:lnTo>
                  <a:close/>
                </a:path>
                <a:path w="1965960" h="1374775">
                  <a:moveTo>
                    <a:pt x="1735976" y="245818"/>
                  </a:moveTo>
                  <a:lnTo>
                    <a:pt x="229475" y="245818"/>
                  </a:lnTo>
                  <a:lnTo>
                    <a:pt x="228155" y="250370"/>
                  </a:lnTo>
                  <a:lnTo>
                    <a:pt x="1737297" y="250370"/>
                  </a:lnTo>
                  <a:lnTo>
                    <a:pt x="1735976" y="245818"/>
                  </a:lnTo>
                  <a:close/>
                </a:path>
                <a:path w="1965960" h="1374775">
                  <a:moveTo>
                    <a:pt x="1730650" y="241265"/>
                  </a:moveTo>
                  <a:lnTo>
                    <a:pt x="234801" y="241265"/>
                  </a:lnTo>
                  <a:lnTo>
                    <a:pt x="233436" y="245818"/>
                  </a:lnTo>
                  <a:lnTo>
                    <a:pt x="1733291" y="245818"/>
                  </a:lnTo>
                  <a:lnTo>
                    <a:pt x="1730650" y="241265"/>
                  </a:lnTo>
                  <a:close/>
                </a:path>
                <a:path w="1965960" h="1374775">
                  <a:moveTo>
                    <a:pt x="1725279" y="236713"/>
                  </a:moveTo>
                  <a:lnTo>
                    <a:pt x="240173" y="236713"/>
                  </a:lnTo>
                  <a:lnTo>
                    <a:pt x="238807" y="241265"/>
                  </a:lnTo>
                  <a:lnTo>
                    <a:pt x="1726644" y="241265"/>
                  </a:lnTo>
                  <a:lnTo>
                    <a:pt x="1725279" y="236713"/>
                  </a:lnTo>
                  <a:close/>
                </a:path>
                <a:path w="1965960" h="1374775">
                  <a:moveTo>
                    <a:pt x="1719862" y="232161"/>
                  </a:moveTo>
                  <a:lnTo>
                    <a:pt x="245590" y="232161"/>
                  </a:lnTo>
                  <a:lnTo>
                    <a:pt x="241493" y="236713"/>
                  </a:lnTo>
                  <a:lnTo>
                    <a:pt x="1722593" y="236713"/>
                  </a:lnTo>
                  <a:lnTo>
                    <a:pt x="1719862" y="232161"/>
                  </a:lnTo>
                  <a:close/>
                </a:path>
                <a:path w="1965960" h="1374775">
                  <a:moveTo>
                    <a:pt x="1706114" y="223057"/>
                  </a:moveTo>
                  <a:lnTo>
                    <a:pt x="259338" y="223057"/>
                  </a:lnTo>
                  <a:lnTo>
                    <a:pt x="252418" y="227609"/>
                  </a:lnTo>
                  <a:lnTo>
                    <a:pt x="251053" y="232161"/>
                  </a:lnTo>
                  <a:lnTo>
                    <a:pt x="1714399" y="232161"/>
                  </a:lnTo>
                  <a:lnTo>
                    <a:pt x="1713033" y="227609"/>
                  </a:lnTo>
                  <a:lnTo>
                    <a:pt x="1710257" y="227609"/>
                  </a:lnTo>
                  <a:lnTo>
                    <a:pt x="1706114" y="223057"/>
                  </a:lnTo>
                  <a:close/>
                </a:path>
                <a:path w="1965960" h="1374775">
                  <a:moveTo>
                    <a:pt x="1696281" y="213952"/>
                  </a:moveTo>
                  <a:lnTo>
                    <a:pt x="271993" y="213952"/>
                  </a:lnTo>
                  <a:lnTo>
                    <a:pt x="263526" y="218505"/>
                  </a:lnTo>
                  <a:lnTo>
                    <a:pt x="260749" y="223057"/>
                  </a:lnTo>
                  <a:lnTo>
                    <a:pt x="1703292" y="223057"/>
                  </a:lnTo>
                  <a:lnTo>
                    <a:pt x="1700515" y="218505"/>
                  </a:lnTo>
                  <a:lnTo>
                    <a:pt x="1696281" y="213952"/>
                  </a:lnTo>
                  <a:close/>
                </a:path>
                <a:path w="1965960" h="1374775">
                  <a:moveTo>
                    <a:pt x="1689134" y="209400"/>
                  </a:moveTo>
                  <a:lnTo>
                    <a:pt x="276272" y="209400"/>
                  </a:lnTo>
                  <a:lnTo>
                    <a:pt x="274861" y="213952"/>
                  </a:lnTo>
                  <a:lnTo>
                    <a:pt x="1690591" y="213952"/>
                  </a:lnTo>
                  <a:lnTo>
                    <a:pt x="1689134" y="209400"/>
                  </a:lnTo>
                  <a:close/>
                </a:path>
                <a:path w="1965960" h="1374775">
                  <a:moveTo>
                    <a:pt x="1683399" y="204848"/>
                  </a:moveTo>
                  <a:lnTo>
                    <a:pt x="282053" y="204848"/>
                  </a:lnTo>
                  <a:lnTo>
                    <a:pt x="280596" y="209400"/>
                  </a:lnTo>
                  <a:lnTo>
                    <a:pt x="1684855" y="209400"/>
                  </a:lnTo>
                  <a:lnTo>
                    <a:pt x="1683399" y="204848"/>
                  </a:lnTo>
                  <a:close/>
                </a:path>
                <a:path w="1965960" h="1374775">
                  <a:moveTo>
                    <a:pt x="1674704" y="200296"/>
                  </a:moveTo>
                  <a:lnTo>
                    <a:pt x="290748" y="200296"/>
                  </a:lnTo>
                  <a:lnTo>
                    <a:pt x="287834" y="204848"/>
                  </a:lnTo>
                  <a:lnTo>
                    <a:pt x="1677617" y="204848"/>
                  </a:lnTo>
                  <a:lnTo>
                    <a:pt x="1674704" y="200296"/>
                  </a:lnTo>
                  <a:close/>
                </a:path>
                <a:path w="1965960" h="1374775">
                  <a:moveTo>
                    <a:pt x="1668832" y="195744"/>
                  </a:moveTo>
                  <a:lnTo>
                    <a:pt x="295163" y="195744"/>
                  </a:lnTo>
                  <a:lnTo>
                    <a:pt x="293661" y="200296"/>
                  </a:lnTo>
                  <a:lnTo>
                    <a:pt x="1673202" y="200296"/>
                  </a:lnTo>
                  <a:lnTo>
                    <a:pt x="1668832" y="195744"/>
                  </a:lnTo>
                  <a:close/>
                </a:path>
                <a:path w="1965960" h="1374775">
                  <a:moveTo>
                    <a:pt x="1662914" y="191191"/>
                  </a:moveTo>
                  <a:lnTo>
                    <a:pt x="304040" y="191191"/>
                  </a:lnTo>
                  <a:lnTo>
                    <a:pt x="301036" y="195744"/>
                  </a:lnTo>
                  <a:lnTo>
                    <a:pt x="1664371" y="195744"/>
                  </a:lnTo>
                  <a:lnTo>
                    <a:pt x="1662914" y="191191"/>
                  </a:lnTo>
                  <a:close/>
                </a:path>
                <a:path w="1965960" h="1374775">
                  <a:moveTo>
                    <a:pt x="1656950" y="186639"/>
                  </a:moveTo>
                  <a:lnTo>
                    <a:pt x="308501" y="186639"/>
                  </a:lnTo>
                  <a:lnTo>
                    <a:pt x="306999" y="191191"/>
                  </a:lnTo>
                  <a:lnTo>
                    <a:pt x="1658407" y="191191"/>
                  </a:lnTo>
                  <a:lnTo>
                    <a:pt x="1656950" y="186639"/>
                  </a:lnTo>
                  <a:close/>
                </a:path>
                <a:path w="1965960" h="1374775">
                  <a:moveTo>
                    <a:pt x="1649394" y="182087"/>
                  </a:moveTo>
                  <a:lnTo>
                    <a:pt x="316012" y="182087"/>
                  </a:lnTo>
                  <a:lnTo>
                    <a:pt x="314510" y="186639"/>
                  </a:lnTo>
                  <a:lnTo>
                    <a:pt x="1650942" y="186639"/>
                  </a:lnTo>
                  <a:lnTo>
                    <a:pt x="1649394" y="182087"/>
                  </a:lnTo>
                  <a:close/>
                </a:path>
                <a:path w="1965960" h="1374775">
                  <a:moveTo>
                    <a:pt x="1641792" y="177535"/>
                  </a:moveTo>
                  <a:lnTo>
                    <a:pt x="323615" y="177535"/>
                  </a:lnTo>
                  <a:lnTo>
                    <a:pt x="322112" y="182087"/>
                  </a:lnTo>
                  <a:lnTo>
                    <a:pt x="1643339" y="182087"/>
                  </a:lnTo>
                  <a:lnTo>
                    <a:pt x="1641792" y="177535"/>
                  </a:lnTo>
                  <a:close/>
                </a:path>
                <a:path w="1965960" h="1374775">
                  <a:moveTo>
                    <a:pt x="1631049" y="172983"/>
                  </a:moveTo>
                  <a:lnTo>
                    <a:pt x="334403" y="172983"/>
                  </a:lnTo>
                  <a:lnTo>
                    <a:pt x="326665" y="177535"/>
                  </a:lnTo>
                  <a:lnTo>
                    <a:pt x="1637239" y="177535"/>
                  </a:lnTo>
                  <a:lnTo>
                    <a:pt x="1631049" y="172983"/>
                  </a:lnTo>
                  <a:close/>
                </a:path>
                <a:path w="1965960" h="1374775">
                  <a:moveTo>
                    <a:pt x="1624858" y="168430"/>
                  </a:moveTo>
                  <a:lnTo>
                    <a:pt x="340594" y="168430"/>
                  </a:lnTo>
                  <a:lnTo>
                    <a:pt x="335951" y="172983"/>
                  </a:lnTo>
                  <a:lnTo>
                    <a:pt x="1629501" y="172983"/>
                  </a:lnTo>
                  <a:lnTo>
                    <a:pt x="1624858" y="168430"/>
                  </a:lnTo>
                  <a:close/>
                </a:path>
                <a:path w="1965960" h="1374775">
                  <a:moveTo>
                    <a:pt x="1620169" y="163878"/>
                  </a:moveTo>
                  <a:lnTo>
                    <a:pt x="345283" y="163878"/>
                  </a:lnTo>
                  <a:lnTo>
                    <a:pt x="343735" y="168430"/>
                  </a:lnTo>
                  <a:lnTo>
                    <a:pt x="1621717" y="168430"/>
                  </a:lnTo>
                  <a:lnTo>
                    <a:pt x="1620169" y="163878"/>
                  </a:lnTo>
                  <a:close/>
                </a:path>
                <a:path w="1965960" h="1374775">
                  <a:moveTo>
                    <a:pt x="1612293" y="159326"/>
                  </a:moveTo>
                  <a:lnTo>
                    <a:pt x="353158" y="159326"/>
                  </a:lnTo>
                  <a:lnTo>
                    <a:pt x="349972" y="163878"/>
                  </a:lnTo>
                  <a:lnTo>
                    <a:pt x="1613887" y="163878"/>
                  </a:lnTo>
                  <a:lnTo>
                    <a:pt x="1612293" y="159326"/>
                  </a:lnTo>
                  <a:close/>
                </a:path>
                <a:path w="1965960" h="1374775">
                  <a:moveTo>
                    <a:pt x="1602779" y="154774"/>
                  </a:moveTo>
                  <a:lnTo>
                    <a:pt x="365859" y="154774"/>
                  </a:lnTo>
                  <a:lnTo>
                    <a:pt x="354706" y="159326"/>
                  </a:lnTo>
                  <a:lnTo>
                    <a:pt x="1607559" y="159326"/>
                  </a:lnTo>
                  <a:lnTo>
                    <a:pt x="1602779" y="154774"/>
                  </a:lnTo>
                  <a:close/>
                </a:path>
                <a:path w="1965960" h="1374775">
                  <a:moveTo>
                    <a:pt x="1596361" y="150222"/>
                  </a:moveTo>
                  <a:lnTo>
                    <a:pt x="369091" y="150222"/>
                  </a:lnTo>
                  <a:lnTo>
                    <a:pt x="367498" y="154774"/>
                  </a:lnTo>
                  <a:lnTo>
                    <a:pt x="1601141" y="154774"/>
                  </a:lnTo>
                  <a:lnTo>
                    <a:pt x="1596361" y="150222"/>
                  </a:lnTo>
                  <a:close/>
                </a:path>
                <a:path w="1965960" h="1374775">
                  <a:moveTo>
                    <a:pt x="1588258" y="145670"/>
                  </a:moveTo>
                  <a:lnTo>
                    <a:pt x="377148" y="145670"/>
                  </a:lnTo>
                  <a:lnTo>
                    <a:pt x="375555" y="150222"/>
                  </a:lnTo>
                  <a:lnTo>
                    <a:pt x="1589897" y="150222"/>
                  </a:lnTo>
                  <a:lnTo>
                    <a:pt x="1588258" y="145670"/>
                  </a:lnTo>
                  <a:close/>
                </a:path>
                <a:path w="1965960" h="1374775">
                  <a:moveTo>
                    <a:pt x="1571916" y="136565"/>
                  </a:moveTo>
                  <a:lnTo>
                    <a:pt x="395129" y="136565"/>
                  </a:lnTo>
                  <a:lnTo>
                    <a:pt x="385297" y="141117"/>
                  </a:lnTo>
                  <a:lnTo>
                    <a:pt x="383658" y="145670"/>
                  </a:lnTo>
                  <a:lnTo>
                    <a:pt x="1581794" y="145670"/>
                  </a:lnTo>
                  <a:lnTo>
                    <a:pt x="1580155" y="141117"/>
                  </a:lnTo>
                  <a:lnTo>
                    <a:pt x="1573600" y="141117"/>
                  </a:lnTo>
                  <a:lnTo>
                    <a:pt x="1571916" y="136565"/>
                  </a:lnTo>
                  <a:close/>
                </a:path>
                <a:path w="1965960" h="1374775">
                  <a:moveTo>
                    <a:pt x="1561992" y="132013"/>
                  </a:moveTo>
                  <a:lnTo>
                    <a:pt x="403414" y="132013"/>
                  </a:lnTo>
                  <a:lnTo>
                    <a:pt x="401776" y="136565"/>
                  </a:lnTo>
                  <a:lnTo>
                    <a:pt x="1563676" y="136565"/>
                  </a:lnTo>
                  <a:lnTo>
                    <a:pt x="1561992" y="132013"/>
                  </a:lnTo>
                  <a:close/>
                </a:path>
                <a:path w="1965960" h="1374775">
                  <a:moveTo>
                    <a:pt x="1553661" y="127461"/>
                  </a:moveTo>
                  <a:lnTo>
                    <a:pt x="411790" y="127461"/>
                  </a:lnTo>
                  <a:lnTo>
                    <a:pt x="410106" y="132013"/>
                  </a:lnTo>
                  <a:lnTo>
                    <a:pt x="1555346" y="132013"/>
                  </a:lnTo>
                  <a:lnTo>
                    <a:pt x="1553661" y="127461"/>
                  </a:lnTo>
                  <a:close/>
                </a:path>
                <a:path w="1965960" h="1374775">
                  <a:moveTo>
                    <a:pt x="1538503" y="122909"/>
                  </a:moveTo>
                  <a:lnTo>
                    <a:pt x="421851" y="122909"/>
                  </a:lnTo>
                  <a:lnTo>
                    <a:pt x="416798" y="127461"/>
                  </a:lnTo>
                  <a:lnTo>
                    <a:pt x="1548608" y="127461"/>
                  </a:lnTo>
                  <a:lnTo>
                    <a:pt x="1538503" y="122909"/>
                  </a:lnTo>
                  <a:close/>
                </a:path>
                <a:path w="1965960" h="1374775">
                  <a:moveTo>
                    <a:pt x="1533404" y="118356"/>
                  </a:moveTo>
                  <a:lnTo>
                    <a:pt x="430363" y="118356"/>
                  </a:lnTo>
                  <a:lnTo>
                    <a:pt x="428634" y="122909"/>
                  </a:lnTo>
                  <a:lnTo>
                    <a:pt x="1536773" y="122909"/>
                  </a:lnTo>
                  <a:lnTo>
                    <a:pt x="1533404" y="118356"/>
                  </a:lnTo>
                  <a:close/>
                </a:path>
                <a:path w="1965960" h="1374775">
                  <a:moveTo>
                    <a:pt x="1524846" y="113804"/>
                  </a:moveTo>
                  <a:lnTo>
                    <a:pt x="440606" y="113804"/>
                  </a:lnTo>
                  <a:lnTo>
                    <a:pt x="438876" y="118356"/>
                  </a:lnTo>
                  <a:lnTo>
                    <a:pt x="1526530" y="118356"/>
                  </a:lnTo>
                  <a:lnTo>
                    <a:pt x="1524846" y="113804"/>
                  </a:lnTo>
                  <a:close/>
                </a:path>
                <a:path w="1965960" h="1374775">
                  <a:moveTo>
                    <a:pt x="1505818" y="104700"/>
                  </a:moveTo>
                  <a:lnTo>
                    <a:pt x="461364" y="104700"/>
                  </a:lnTo>
                  <a:lnTo>
                    <a:pt x="456174" y="109252"/>
                  </a:lnTo>
                  <a:lnTo>
                    <a:pt x="454399" y="109252"/>
                  </a:lnTo>
                  <a:lnTo>
                    <a:pt x="445750" y="113804"/>
                  </a:lnTo>
                  <a:lnTo>
                    <a:pt x="1519656" y="113804"/>
                  </a:lnTo>
                  <a:lnTo>
                    <a:pt x="1505818" y="104700"/>
                  </a:lnTo>
                  <a:close/>
                </a:path>
                <a:path w="1965960" h="1374775">
                  <a:moveTo>
                    <a:pt x="1495302" y="100148"/>
                  </a:moveTo>
                  <a:lnTo>
                    <a:pt x="470149" y="100148"/>
                  </a:lnTo>
                  <a:lnTo>
                    <a:pt x="468374" y="104700"/>
                  </a:lnTo>
                  <a:lnTo>
                    <a:pt x="1497078" y="104700"/>
                  </a:lnTo>
                  <a:lnTo>
                    <a:pt x="1495302" y="100148"/>
                  </a:lnTo>
                  <a:close/>
                </a:path>
                <a:path w="1965960" h="1374775">
                  <a:moveTo>
                    <a:pt x="1482966" y="95595"/>
                  </a:moveTo>
                  <a:lnTo>
                    <a:pt x="482486" y="95595"/>
                  </a:lnTo>
                  <a:lnTo>
                    <a:pt x="475385" y="100148"/>
                  </a:lnTo>
                  <a:lnTo>
                    <a:pt x="1486517" y="100148"/>
                  </a:lnTo>
                  <a:lnTo>
                    <a:pt x="1482966" y="95595"/>
                  </a:lnTo>
                  <a:close/>
                </a:path>
                <a:path w="1965960" h="1374775">
                  <a:moveTo>
                    <a:pt x="1472314" y="91043"/>
                  </a:moveTo>
                  <a:lnTo>
                    <a:pt x="494913" y="91043"/>
                  </a:lnTo>
                  <a:lnTo>
                    <a:pt x="489587" y="95595"/>
                  </a:lnTo>
                  <a:lnTo>
                    <a:pt x="1475864" y="95595"/>
                  </a:lnTo>
                  <a:lnTo>
                    <a:pt x="1472314" y="91043"/>
                  </a:lnTo>
                  <a:close/>
                </a:path>
                <a:path w="1965960" h="1374775">
                  <a:moveTo>
                    <a:pt x="1461525" y="86491"/>
                  </a:moveTo>
                  <a:lnTo>
                    <a:pt x="503881" y="86491"/>
                  </a:lnTo>
                  <a:lnTo>
                    <a:pt x="502106" y="91043"/>
                  </a:lnTo>
                  <a:lnTo>
                    <a:pt x="1463346" y="91043"/>
                  </a:lnTo>
                  <a:lnTo>
                    <a:pt x="1461525" y="86491"/>
                  </a:lnTo>
                  <a:close/>
                </a:path>
                <a:path w="1965960" h="1374775">
                  <a:moveTo>
                    <a:pt x="1437990" y="77387"/>
                  </a:moveTo>
                  <a:lnTo>
                    <a:pt x="527416" y="77387"/>
                  </a:lnTo>
                  <a:lnTo>
                    <a:pt x="525595" y="81939"/>
                  </a:lnTo>
                  <a:lnTo>
                    <a:pt x="518357" y="81939"/>
                  </a:lnTo>
                  <a:lnTo>
                    <a:pt x="511074" y="86491"/>
                  </a:lnTo>
                  <a:lnTo>
                    <a:pt x="1450736" y="86491"/>
                  </a:lnTo>
                  <a:lnTo>
                    <a:pt x="1439811" y="81939"/>
                  </a:lnTo>
                  <a:lnTo>
                    <a:pt x="1437990" y="77387"/>
                  </a:lnTo>
                  <a:close/>
                </a:path>
                <a:path w="1965960" h="1374775">
                  <a:moveTo>
                    <a:pt x="1425199" y="72835"/>
                  </a:moveTo>
                  <a:lnTo>
                    <a:pt x="540253" y="72835"/>
                  </a:lnTo>
                  <a:lnTo>
                    <a:pt x="538387" y="77387"/>
                  </a:lnTo>
                  <a:lnTo>
                    <a:pt x="1428840" y="77387"/>
                  </a:lnTo>
                  <a:lnTo>
                    <a:pt x="1425199" y="72835"/>
                  </a:lnTo>
                  <a:close/>
                </a:path>
                <a:path w="1965960" h="1374775">
                  <a:moveTo>
                    <a:pt x="1412270" y="68282"/>
                  </a:moveTo>
                  <a:lnTo>
                    <a:pt x="553136" y="68282"/>
                  </a:lnTo>
                  <a:lnTo>
                    <a:pt x="551315" y="72835"/>
                  </a:lnTo>
                  <a:lnTo>
                    <a:pt x="1414137" y="72835"/>
                  </a:lnTo>
                  <a:lnTo>
                    <a:pt x="1412270" y="68282"/>
                  </a:lnTo>
                  <a:close/>
                </a:path>
                <a:path w="1965960" h="1374775">
                  <a:moveTo>
                    <a:pt x="1397430" y="63730"/>
                  </a:moveTo>
                  <a:lnTo>
                    <a:pt x="568022" y="63730"/>
                  </a:lnTo>
                  <a:lnTo>
                    <a:pt x="564289" y="68282"/>
                  </a:lnTo>
                  <a:lnTo>
                    <a:pt x="1399297" y="68282"/>
                  </a:lnTo>
                  <a:lnTo>
                    <a:pt x="1397430" y="63730"/>
                  </a:lnTo>
                  <a:close/>
                </a:path>
                <a:path w="1965960" h="1374775">
                  <a:moveTo>
                    <a:pt x="1384320" y="59178"/>
                  </a:moveTo>
                  <a:lnTo>
                    <a:pt x="581132" y="59178"/>
                  </a:lnTo>
                  <a:lnTo>
                    <a:pt x="579265" y="63730"/>
                  </a:lnTo>
                  <a:lnTo>
                    <a:pt x="1386186" y="63730"/>
                  </a:lnTo>
                  <a:lnTo>
                    <a:pt x="1384320" y="59178"/>
                  </a:lnTo>
                  <a:close/>
                </a:path>
                <a:path w="1965960" h="1374775">
                  <a:moveTo>
                    <a:pt x="1369207" y="54626"/>
                  </a:moveTo>
                  <a:lnTo>
                    <a:pt x="596200" y="54626"/>
                  </a:lnTo>
                  <a:lnTo>
                    <a:pt x="594333" y="59178"/>
                  </a:lnTo>
                  <a:lnTo>
                    <a:pt x="1371119" y="59178"/>
                  </a:lnTo>
                  <a:lnTo>
                    <a:pt x="1369207" y="54626"/>
                  </a:lnTo>
                  <a:close/>
                </a:path>
                <a:path w="1965960" h="1374775">
                  <a:moveTo>
                    <a:pt x="1354048" y="50074"/>
                  </a:moveTo>
                  <a:lnTo>
                    <a:pt x="613316" y="50074"/>
                  </a:lnTo>
                  <a:lnTo>
                    <a:pt x="607580" y="54626"/>
                  </a:lnTo>
                  <a:lnTo>
                    <a:pt x="1355914" y="54626"/>
                  </a:lnTo>
                  <a:lnTo>
                    <a:pt x="1354048" y="50074"/>
                  </a:lnTo>
                  <a:close/>
                </a:path>
                <a:path w="1965960" h="1374775">
                  <a:moveTo>
                    <a:pt x="1336795" y="45521"/>
                  </a:moveTo>
                  <a:lnTo>
                    <a:pt x="628611" y="45521"/>
                  </a:lnTo>
                  <a:lnTo>
                    <a:pt x="626699" y="50074"/>
                  </a:lnTo>
                  <a:lnTo>
                    <a:pt x="1338753" y="50074"/>
                  </a:lnTo>
                  <a:lnTo>
                    <a:pt x="1336795" y="45521"/>
                  </a:lnTo>
                  <a:close/>
                </a:path>
                <a:path w="1965960" h="1374775">
                  <a:moveTo>
                    <a:pt x="1319451" y="40969"/>
                  </a:moveTo>
                  <a:lnTo>
                    <a:pt x="645955" y="40969"/>
                  </a:lnTo>
                  <a:lnTo>
                    <a:pt x="644043" y="45521"/>
                  </a:lnTo>
                  <a:lnTo>
                    <a:pt x="1321409" y="45521"/>
                  </a:lnTo>
                  <a:lnTo>
                    <a:pt x="1319451" y="40969"/>
                  </a:lnTo>
                  <a:close/>
                </a:path>
                <a:path w="1965960" h="1374775">
                  <a:moveTo>
                    <a:pt x="1298101" y="36417"/>
                  </a:moveTo>
                  <a:lnTo>
                    <a:pt x="665393" y="36417"/>
                  </a:lnTo>
                  <a:lnTo>
                    <a:pt x="661478" y="40969"/>
                  </a:lnTo>
                  <a:lnTo>
                    <a:pt x="1303974" y="40969"/>
                  </a:lnTo>
                  <a:lnTo>
                    <a:pt x="1298101" y="36417"/>
                  </a:lnTo>
                  <a:close/>
                </a:path>
                <a:path w="1965960" h="1374775">
                  <a:moveTo>
                    <a:pt x="1282487" y="31865"/>
                  </a:moveTo>
                  <a:lnTo>
                    <a:pt x="682964" y="31865"/>
                  </a:lnTo>
                  <a:lnTo>
                    <a:pt x="677092" y="36417"/>
                  </a:lnTo>
                  <a:lnTo>
                    <a:pt x="1288360" y="36417"/>
                  </a:lnTo>
                  <a:lnTo>
                    <a:pt x="1282487" y="31865"/>
                  </a:lnTo>
                  <a:close/>
                </a:path>
                <a:path w="1965960" h="1374775">
                  <a:moveTo>
                    <a:pt x="1260819" y="27313"/>
                  </a:moveTo>
                  <a:lnTo>
                    <a:pt x="704587" y="27313"/>
                  </a:lnTo>
                  <a:lnTo>
                    <a:pt x="700672" y="31865"/>
                  </a:lnTo>
                  <a:lnTo>
                    <a:pt x="1262822" y="31865"/>
                  </a:lnTo>
                  <a:lnTo>
                    <a:pt x="1260819" y="27313"/>
                  </a:lnTo>
                  <a:close/>
                </a:path>
                <a:path w="1965960" h="1374775">
                  <a:moveTo>
                    <a:pt x="1239060" y="22760"/>
                  </a:moveTo>
                  <a:lnTo>
                    <a:pt x="726392" y="22760"/>
                  </a:lnTo>
                  <a:lnTo>
                    <a:pt x="724389" y="27313"/>
                  </a:lnTo>
                  <a:lnTo>
                    <a:pt x="1241017" y="27313"/>
                  </a:lnTo>
                  <a:lnTo>
                    <a:pt x="1239060" y="22760"/>
                  </a:lnTo>
                  <a:close/>
                </a:path>
                <a:path w="1965960" h="1374775">
                  <a:moveTo>
                    <a:pt x="1213112" y="18208"/>
                  </a:moveTo>
                  <a:lnTo>
                    <a:pt x="752294" y="18208"/>
                  </a:lnTo>
                  <a:lnTo>
                    <a:pt x="750291" y="22760"/>
                  </a:lnTo>
                  <a:lnTo>
                    <a:pt x="1215115" y="22760"/>
                  </a:lnTo>
                  <a:lnTo>
                    <a:pt x="1213112" y="18208"/>
                  </a:lnTo>
                  <a:close/>
                </a:path>
                <a:path w="1965960" h="1374775">
                  <a:moveTo>
                    <a:pt x="1183022" y="13656"/>
                  </a:moveTo>
                  <a:lnTo>
                    <a:pt x="782430" y="13656"/>
                  </a:lnTo>
                  <a:lnTo>
                    <a:pt x="780427" y="18208"/>
                  </a:lnTo>
                  <a:lnTo>
                    <a:pt x="1185025" y="18208"/>
                  </a:lnTo>
                  <a:lnTo>
                    <a:pt x="1183022" y="13656"/>
                  </a:lnTo>
                  <a:close/>
                </a:path>
                <a:path w="1965960" h="1374775">
                  <a:moveTo>
                    <a:pt x="1150656" y="9104"/>
                  </a:moveTo>
                  <a:lnTo>
                    <a:pt x="814796" y="9104"/>
                  </a:lnTo>
                  <a:lnTo>
                    <a:pt x="812747" y="13656"/>
                  </a:lnTo>
                  <a:lnTo>
                    <a:pt x="1152705" y="13656"/>
                  </a:lnTo>
                  <a:lnTo>
                    <a:pt x="1150656" y="9104"/>
                  </a:lnTo>
                  <a:close/>
                </a:path>
                <a:path w="1965960" h="1374775">
                  <a:moveTo>
                    <a:pt x="1103860" y="4552"/>
                  </a:moveTo>
                  <a:lnTo>
                    <a:pt x="861592" y="4552"/>
                  </a:lnTo>
                  <a:lnTo>
                    <a:pt x="855447" y="9104"/>
                  </a:lnTo>
                  <a:lnTo>
                    <a:pt x="1109960" y="9104"/>
                  </a:lnTo>
                  <a:lnTo>
                    <a:pt x="1103860" y="4552"/>
                  </a:lnTo>
                  <a:close/>
                </a:path>
                <a:path w="1965960" h="1374775">
                  <a:moveTo>
                    <a:pt x="1036214" y="0"/>
                  </a:moveTo>
                  <a:lnTo>
                    <a:pt x="929238" y="0"/>
                  </a:lnTo>
                  <a:lnTo>
                    <a:pt x="927189" y="4552"/>
                  </a:lnTo>
                  <a:lnTo>
                    <a:pt x="1038263" y="4552"/>
                  </a:lnTo>
                  <a:lnTo>
                    <a:pt x="1036214" y="0"/>
                  </a:lnTo>
                  <a:close/>
                </a:path>
              </a:pathLst>
            </a:custGeom>
            <a:solidFill>
              <a:schemeClr val="accent2">
                <a:alpha val="49798"/>
              </a:schemeClr>
            </a:solidFill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grpSp>
          <p:nvGrpSpPr>
            <p:cNvPr id="16" name="Gruppieren 15"/>
            <p:cNvGrpSpPr/>
            <p:nvPr/>
          </p:nvGrpSpPr>
          <p:grpSpPr>
            <a:xfrm>
              <a:off x="1790700" y="1557268"/>
              <a:ext cx="3144291" cy="1671192"/>
              <a:chOff x="1790700" y="1557268"/>
              <a:chExt cx="3144291" cy="1671192"/>
            </a:xfrm>
          </p:grpSpPr>
          <p:sp>
            <p:nvSpPr>
              <p:cNvPr id="10" name="object 19"/>
              <p:cNvSpPr/>
              <p:nvPr/>
            </p:nvSpPr>
            <p:spPr>
              <a:xfrm>
                <a:off x="2745947" y="1853685"/>
                <a:ext cx="1965960" cy="1374775"/>
              </a:xfrm>
              <a:custGeom>
                <a:avLst/>
                <a:gdLst/>
                <a:ahLst/>
                <a:cxnLst/>
                <a:rect l="l" t="t" r="r" b="b"/>
                <a:pathLst>
                  <a:path w="1965960" h="1374775">
                    <a:moveTo>
                      <a:pt x="1095666" y="1370208"/>
                    </a:moveTo>
                    <a:lnTo>
                      <a:pt x="869786" y="1370208"/>
                    </a:lnTo>
                    <a:lnTo>
                      <a:pt x="871835" y="1374760"/>
                    </a:lnTo>
                    <a:lnTo>
                      <a:pt x="1093617" y="1374760"/>
                    </a:lnTo>
                    <a:lnTo>
                      <a:pt x="1095666" y="1370208"/>
                    </a:lnTo>
                    <a:close/>
                  </a:path>
                  <a:path w="1965960" h="1374775">
                    <a:moveTo>
                      <a:pt x="1144556" y="1365656"/>
                    </a:moveTo>
                    <a:lnTo>
                      <a:pt x="820850" y="1365656"/>
                    </a:lnTo>
                    <a:lnTo>
                      <a:pt x="835098" y="1370208"/>
                    </a:lnTo>
                    <a:lnTo>
                      <a:pt x="1130353" y="1370208"/>
                    </a:lnTo>
                    <a:lnTo>
                      <a:pt x="1144556" y="1365656"/>
                    </a:lnTo>
                    <a:close/>
                  </a:path>
                  <a:path w="1965960" h="1374775">
                    <a:moveTo>
                      <a:pt x="1178971" y="1361104"/>
                    </a:moveTo>
                    <a:lnTo>
                      <a:pt x="786481" y="1361104"/>
                    </a:lnTo>
                    <a:lnTo>
                      <a:pt x="806647" y="1365656"/>
                    </a:lnTo>
                    <a:lnTo>
                      <a:pt x="1158759" y="1365656"/>
                    </a:lnTo>
                    <a:lnTo>
                      <a:pt x="1178971" y="1361104"/>
                    </a:lnTo>
                    <a:close/>
                  </a:path>
                  <a:path w="1965960" h="1374775">
                    <a:moveTo>
                      <a:pt x="1209106" y="1356552"/>
                    </a:moveTo>
                    <a:lnTo>
                      <a:pt x="756300" y="1356552"/>
                    </a:lnTo>
                    <a:lnTo>
                      <a:pt x="774372" y="1361104"/>
                    </a:lnTo>
                    <a:lnTo>
                      <a:pt x="1191080" y="1361104"/>
                    </a:lnTo>
                    <a:lnTo>
                      <a:pt x="1209106" y="1356552"/>
                    </a:lnTo>
                    <a:close/>
                  </a:path>
                  <a:path w="1965960" h="1374775">
                    <a:moveTo>
                      <a:pt x="1239060" y="1351999"/>
                    </a:moveTo>
                    <a:lnTo>
                      <a:pt x="724389" y="1351999"/>
                    </a:lnTo>
                    <a:lnTo>
                      <a:pt x="744328" y="1356552"/>
                    </a:lnTo>
                    <a:lnTo>
                      <a:pt x="1221124" y="1356552"/>
                    </a:lnTo>
                    <a:lnTo>
                      <a:pt x="1239060" y="1351999"/>
                    </a:lnTo>
                    <a:close/>
                  </a:path>
                  <a:path w="1965960" h="1374775">
                    <a:moveTo>
                      <a:pt x="1256904" y="1347447"/>
                    </a:moveTo>
                    <a:lnTo>
                      <a:pt x="706590" y="1347447"/>
                    </a:lnTo>
                    <a:lnTo>
                      <a:pt x="710505" y="1351999"/>
                    </a:lnTo>
                    <a:lnTo>
                      <a:pt x="1254901" y="1351999"/>
                    </a:lnTo>
                    <a:lnTo>
                      <a:pt x="1256904" y="1347447"/>
                    </a:lnTo>
                    <a:close/>
                  </a:path>
                  <a:path w="1965960" h="1374775">
                    <a:moveTo>
                      <a:pt x="1278573" y="1342895"/>
                    </a:moveTo>
                    <a:lnTo>
                      <a:pt x="684922" y="1342895"/>
                    </a:lnTo>
                    <a:lnTo>
                      <a:pt x="688837" y="1347447"/>
                    </a:lnTo>
                    <a:lnTo>
                      <a:pt x="1276570" y="1347447"/>
                    </a:lnTo>
                    <a:lnTo>
                      <a:pt x="1278573" y="1342895"/>
                    </a:lnTo>
                    <a:close/>
                  </a:path>
                  <a:path w="1965960" h="1374775">
                    <a:moveTo>
                      <a:pt x="1300059" y="1338343"/>
                    </a:moveTo>
                    <a:lnTo>
                      <a:pt x="665393" y="1338343"/>
                    </a:lnTo>
                    <a:lnTo>
                      <a:pt x="667305" y="1342895"/>
                    </a:lnTo>
                    <a:lnTo>
                      <a:pt x="1298101" y="1342895"/>
                    </a:lnTo>
                    <a:lnTo>
                      <a:pt x="1300059" y="1338343"/>
                    </a:lnTo>
                    <a:close/>
                  </a:path>
                  <a:path w="1965960" h="1374775">
                    <a:moveTo>
                      <a:pt x="1317539" y="1333791"/>
                    </a:moveTo>
                    <a:lnTo>
                      <a:pt x="647912" y="1333791"/>
                    </a:lnTo>
                    <a:lnTo>
                      <a:pt x="649824" y="1338343"/>
                    </a:lnTo>
                    <a:lnTo>
                      <a:pt x="1315582" y="1338343"/>
                    </a:lnTo>
                    <a:lnTo>
                      <a:pt x="1317539" y="1333791"/>
                    </a:lnTo>
                    <a:close/>
                  </a:path>
                  <a:path w="1965960" h="1374775">
                    <a:moveTo>
                      <a:pt x="1334883" y="1329238"/>
                    </a:moveTo>
                    <a:lnTo>
                      <a:pt x="630523" y="1329238"/>
                    </a:lnTo>
                    <a:lnTo>
                      <a:pt x="632481" y="1333791"/>
                    </a:lnTo>
                    <a:lnTo>
                      <a:pt x="1332971" y="1333791"/>
                    </a:lnTo>
                    <a:lnTo>
                      <a:pt x="1334883" y="1329238"/>
                    </a:lnTo>
                    <a:close/>
                  </a:path>
                  <a:path w="1965960" h="1374775">
                    <a:moveTo>
                      <a:pt x="1354048" y="1324686"/>
                    </a:moveTo>
                    <a:lnTo>
                      <a:pt x="607580" y="1324686"/>
                    </a:lnTo>
                    <a:lnTo>
                      <a:pt x="615228" y="1329238"/>
                    </a:lnTo>
                    <a:lnTo>
                      <a:pt x="1350224" y="1329238"/>
                    </a:lnTo>
                    <a:lnTo>
                      <a:pt x="1354048" y="1324686"/>
                    </a:lnTo>
                    <a:close/>
                  </a:path>
                  <a:path w="1965960" h="1374775">
                    <a:moveTo>
                      <a:pt x="1367340" y="1320134"/>
                    </a:moveTo>
                    <a:lnTo>
                      <a:pt x="598112" y="1320134"/>
                    </a:lnTo>
                    <a:lnTo>
                      <a:pt x="600023" y="1324686"/>
                    </a:lnTo>
                    <a:lnTo>
                      <a:pt x="1363516" y="1324686"/>
                    </a:lnTo>
                    <a:lnTo>
                      <a:pt x="1367340" y="1320134"/>
                    </a:lnTo>
                    <a:close/>
                  </a:path>
                  <a:path w="1965960" h="1374775">
                    <a:moveTo>
                      <a:pt x="1382408" y="1315582"/>
                    </a:moveTo>
                    <a:lnTo>
                      <a:pt x="582998" y="1315582"/>
                    </a:lnTo>
                    <a:lnTo>
                      <a:pt x="584910" y="1320134"/>
                    </a:lnTo>
                    <a:lnTo>
                      <a:pt x="1380542" y="1320134"/>
                    </a:lnTo>
                    <a:lnTo>
                      <a:pt x="1382408" y="1315582"/>
                    </a:lnTo>
                    <a:close/>
                  </a:path>
                  <a:path w="1965960" h="1374775">
                    <a:moveTo>
                      <a:pt x="1397430" y="1311030"/>
                    </a:moveTo>
                    <a:lnTo>
                      <a:pt x="568022" y="1311030"/>
                    </a:lnTo>
                    <a:lnTo>
                      <a:pt x="573621" y="1315582"/>
                    </a:lnTo>
                    <a:lnTo>
                      <a:pt x="1395564" y="1315582"/>
                    </a:lnTo>
                    <a:lnTo>
                      <a:pt x="1397430" y="1311030"/>
                    </a:lnTo>
                    <a:close/>
                  </a:path>
                  <a:path w="1965960" h="1374775">
                    <a:moveTo>
                      <a:pt x="1410404" y="1306477"/>
                    </a:moveTo>
                    <a:lnTo>
                      <a:pt x="555002" y="1306477"/>
                    </a:lnTo>
                    <a:lnTo>
                      <a:pt x="556869" y="1311030"/>
                    </a:lnTo>
                    <a:lnTo>
                      <a:pt x="1408583" y="1311030"/>
                    </a:lnTo>
                    <a:lnTo>
                      <a:pt x="1410404" y="1306477"/>
                    </a:lnTo>
                    <a:close/>
                  </a:path>
                  <a:path w="1965960" h="1374775">
                    <a:moveTo>
                      <a:pt x="1423332" y="1301925"/>
                    </a:moveTo>
                    <a:lnTo>
                      <a:pt x="542074" y="1301925"/>
                    </a:lnTo>
                    <a:lnTo>
                      <a:pt x="543940" y="1306477"/>
                    </a:lnTo>
                    <a:lnTo>
                      <a:pt x="1419690" y="1306477"/>
                    </a:lnTo>
                    <a:lnTo>
                      <a:pt x="1423332" y="1301925"/>
                    </a:lnTo>
                    <a:close/>
                  </a:path>
                  <a:path w="1965960" h="1374775">
                    <a:moveTo>
                      <a:pt x="1437990" y="1297373"/>
                    </a:moveTo>
                    <a:lnTo>
                      <a:pt x="529237" y="1297373"/>
                    </a:lnTo>
                    <a:lnTo>
                      <a:pt x="531103" y="1301925"/>
                    </a:lnTo>
                    <a:lnTo>
                      <a:pt x="1434348" y="1301925"/>
                    </a:lnTo>
                    <a:lnTo>
                      <a:pt x="1437990" y="1297373"/>
                    </a:lnTo>
                    <a:close/>
                  </a:path>
                  <a:path w="1965960" h="1374775">
                    <a:moveTo>
                      <a:pt x="1450736" y="1292821"/>
                    </a:moveTo>
                    <a:lnTo>
                      <a:pt x="511074" y="1292821"/>
                    </a:lnTo>
                    <a:lnTo>
                      <a:pt x="518357" y="1297373"/>
                    </a:lnTo>
                    <a:lnTo>
                      <a:pt x="1439811" y="1297373"/>
                    </a:lnTo>
                    <a:lnTo>
                      <a:pt x="1450736" y="1292821"/>
                    </a:lnTo>
                    <a:close/>
                  </a:path>
                  <a:path w="1965960" h="1374775">
                    <a:moveTo>
                      <a:pt x="1459750" y="1288269"/>
                    </a:moveTo>
                    <a:lnTo>
                      <a:pt x="505702" y="1288269"/>
                    </a:lnTo>
                    <a:lnTo>
                      <a:pt x="507477" y="1292821"/>
                    </a:lnTo>
                    <a:lnTo>
                      <a:pt x="1457929" y="1292821"/>
                    </a:lnTo>
                    <a:lnTo>
                      <a:pt x="1459750" y="1288269"/>
                    </a:lnTo>
                    <a:close/>
                  </a:path>
                  <a:path w="1965960" h="1374775">
                    <a:moveTo>
                      <a:pt x="1472314" y="1283717"/>
                    </a:moveTo>
                    <a:lnTo>
                      <a:pt x="491363" y="1283717"/>
                    </a:lnTo>
                    <a:lnTo>
                      <a:pt x="494913" y="1288269"/>
                    </a:lnTo>
                    <a:lnTo>
                      <a:pt x="1470493" y="1288269"/>
                    </a:lnTo>
                    <a:lnTo>
                      <a:pt x="1472314" y="1283717"/>
                    </a:lnTo>
                    <a:close/>
                  </a:path>
                  <a:path w="1965960" h="1374775">
                    <a:moveTo>
                      <a:pt x="1484741" y="1279164"/>
                    </a:moveTo>
                    <a:lnTo>
                      <a:pt x="480711" y="1279164"/>
                    </a:lnTo>
                    <a:lnTo>
                      <a:pt x="489587" y="1283717"/>
                    </a:lnTo>
                    <a:lnTo>
                      <a:pt x="1475864" y="1283717"/>
                    </a:lnTo>
                    <a:lnTo>
                      <a:pt x="1484741" y="1279164"/>
                    </a:lnTo>
                    <a:close/>
                  </a:path>
                  <a:path w="1965960" h="1374775">
                    <a:moveTo>
                      <a:pt x="1493572" y="1274612"/>
                    </a:moveTo>
                    <a:lnTo>
                      <a:pt x="471879" y="1274612"/>
                    </a:lnTo>
                    <a:lnTo>
                      <a:pt x="473655" y="1279164"/>
                    </a:lnTo>
                    <a:lnTo>
                      <a:pt x="1491797" y="1279164"/>
                    </a:lnTo>
                    <a:lnTo>
                      <a:pt x="1493572" y="1274612"/>
                    </a:lnTo>
                    <a:close/>
                  </a:path>
                  <a:path w="1965960" h="1374775">
                    <a:moveTo>
                      <a:pt x="1504042" y="1270060"/>
                    </a:moveTo>
                    <a:lnTo>
                      <a:pt x="461364" y="1270060"/>
                    </a:lnTo>
                    <a:lnTo>
                      <a:pt x="463139" y="1274612"/>
                    </a:lnTo>
                    <a:lnTo>
                      <a:pt x="1500583" y="1274612"/>
                    </a:lnTo>
                    <a:lnTo>
                      <a:pt x="1504042" y="1270060"/>
                    </a:lnTo>
                    <a:close/>
                  </a:path>
                  <a:path w="1965960" h="1374775">
                    <a:moveTo>
                      <a:pt x="1514467" y="1265508"/>
                    </a:moveTo>
                    <a:lnTo>
                      <a:pt x="450939" y="1265508"/>
                    </a:lnTo>
                    <a:lnTo>
                      <a:pt x="452669" y="1270060"/>
                    </a:lnTo>
                    <a:lnTo>
                      <a:pt x="1512737" y="1270060"/>
                    </a:lnTo>
                    <a:lnTo>
                      <a:pt x="1514467" y="1265508"/>
                    </a:lnTo>
                    <a:close/>
                  </a:path>
                  <a:path w="1965960" h="1374775">
                    <a:moveTo>
                      <a:pt x="1524846" y="1260956"/>
                    </a:moveTo>
                    <a:lnTo>
                      <a:pt x="440606" y="1260956"/>
                    </a:lnTo>
                    <a:lnTo>
                      <a:pt x="442336" y="1265508"/>
                    </a:lnTo>
                    <a:lnTo>
                      <a:pt x="1523116" y="1265508"/>
                    </a:lnTo>
                    <a:lnTo>
                      <a:pt x="1524846" y="1260956"/>
                    </a:lnTo>
                    <a:close/>
                  </a:path>
                  <a:path w="1965960" h="1374775">
                    <a:moveTo>
                      <a:pt x="1536773" y="1256403"/>
                    </a:moveTo>
                    <a:lnTo>
                      <a:pt x="430363" y="1256403"/>
                    </a:lnTo>
                    <a:lnTo>
                      <a:pt x="432048" y="1260956"/>
                    </a:lnTo>
                    <a:lnTo>
                      <a:pt x="1533404" y="1260956"/>
                    </a:lnTo>
                    <a:lnTo>
                      <a:pt x="1536773" y="1256403"/>
                    </a:lnTo>
                    <a:close/>
                  </a:path>
                  <a:path w="1965960" h="1374775">
                    <a:moveTo>
                      <a:pt x="1550293" y="1251851"/>
                    </a:moveTo>
                    <a:lnTo>
                      <a:pt x="421851" y="1251851"/>
                    </a:lnTo>
                    <a:lnTo>
                      <a:pt x="423581" y="1256403"/>
                    </a:lnTo>
                    <a:lnTo>
                      <a:pt x="1538503" y="1256403"/>
                    </a:lnTo>
                    <a:lnTo>
                      <a:pt x="1550293" y="1251851"/>
                    </a:lnTo>
                    <a:close/>
                  </a:path>
                  <a:path w="1965960" h="1374775">
                    <a:moveTo>
                      <a:pt x="1555346" y="1247299"/>
                    </a:moveTo>
                    <a:lnTo>
                      <a:pt x="411790" y="1247299"/>
                    </a:lnTo>
                    <a:lnTo>
                      <a:pt x="413429" y="1251851"/>
                    </a:lnTo>
                    <a:lnTo>
                      <a:pt x="1551977" y="1251851"/>
                    </a:lnTo>
                    <a:lnTo>
                      <a:pt x="1555346" y="1247299"/>
                    </a:lnTo>
                    <a:close/>
                  </a:path>
                  <a:path w="1965960" h="1374775">
                    <a:moveTo>
                      <a:pt x="1561992" y="1242747"/>
                    </a:moveTo>
                    <a:lnTo>
                      <a:pt x="403414" y="1242747"/>
                    </a:lnTo>
                    <a:lnTo>
                      <a:pt x="405099" y="1247299"/>
                    </a:lnTo>
                    <a:lnTo>
                      <a:pt x="1560353" y="1247299"/>
                    </a:lnTo>
                    <a:lnTo>
                      <a:pt x="1561992" y="1242747"/>
                    </a:lnTo>
                    <a:close/>
                  </a:path>
                  <a:path w="1965960" h="1374775">
                    <a:moveTo>
                      <a:pt x="1581794" y="1233642"/>
                    </a:moveTo>
                    <a:lnTo>
                      <a:pt x="383658" y="1233642"/>
                    </a:lnTo>
                    <a:lnTo>
                      <a:pt x="395129" y="1242747"/>
                    </a:lnTo>
                    <a:lnTo>
                      <a:pt x="1566999" y="1242747"/>
                    </a:lnTo>
                    <a:lnTo>
                      <a:pt x="1571916" y="1238195"/>
                    </a:lnTo>
                    <a:lnTo>
                      <a:pt x="1573600" y="1238195"/>
                    </a:lnTo>
                    <a:lnTo>
                      <a:pt x="1581794" y="1233642"/>
                    </a:lnTo>
                    <a:close/>
                  </a:path>
                  <a:path w="1965960" h="1374775">
                    <a:moveTo>
                      <a:pt x="1588258" y="1229090"/>
                    </a:moveTo>
                    <a:lnTo>
                      <a:pt x="377148" y="1229090"/>
                    </a:lnTo>
                    <a:lnTo>
                      <a:pt x="378787" y="1233642"/>
                    </a:lnTo>
                    <a:lnTo>
                      <a:pt x="1586665" y="1233642"/>
                    </a:lnTo>
                    <a:lnTo>
                      <a:pt x="1588258" y="1229090"/>
                    </a:lnTo>
                    <a:close/>
                  </a:path>
                  <a:path w="1965960" h="1374775">
                    <a:moveTo>
                      <a:pt x="1596361" y="1224538"/>
                    </a:moveTo>
                    <a:lnTo>
                      <a:pt x="367498" y="1224538"/>
                    </a:lnTo>
                    <a:lnTo>
                      <a:pt x="370684" y="1229090"/>
                    </a:lnTo>
                    <a:lnTo>
                      <a:pt x="1594722" y="1229090"/>
                    </a:lnTo>
                    <a:lnTo>
                      <a:pt x="1596361" y="1224538"/>
                    </a:lnTo>
                    <a:close/>
                  </a:path>
                  <a:path w="1965960" h="1374775">
                    <a:moveTo>
                      <a:pt x="1612293" y="1215434"/>
                    </a:moveTo>
                    <a:lnTo>
                      <a:pt x="353158" y="1215434"/>
                    </a:lnTo>
                    <a:lnTo>
                      <a:pt x="354706" y="1219986"/>
                    </a:lnTo>
                    <a:lnTo>
                      <a:pt x="365859" y="1224538"/>
                    </a:lnTo>
                    <a:lnTo>
                      <a:pt x="1602779" y="1224538"/>
                    </a:lnTo>
                    <a:lnTo>
                      <a:pt x="1607559" y="1219986"/>
                    </a:lnTo>
                    <a:lnTo>
                      <a:pt x="1609107" y="1219986"/>
                    </a:lnTo>
                    <a:lnTo>
                      <a:pt x="1612293" y="1215434"/>
                    </a:lnTo>
                    <a:close/>
                  </a:path>
                  <a:path w="1965960" h="1374775">
                    <a:moveTo>
                      <a:pt x="1620169" y="1210882"/>
                    </a:moveTo>
                    <a:lnTo>
                      <a:pt x="345283" y="1210882"/>
                    </a:lnTo>
                    <a:lnTo>
                      <a:pt x="346831" y="1215434"/>
                    </a:lnTo>
                    <a:lnTo>
                      <a:pt x="1618576" y="1215434"/>
                    </a:lnTo>
                    <a:lnTo>
                      <a:pt x="1620169" y="1210882"/>
                    </a:lnTo>
                    <a:close/>
                  </a:path>
                  <a:path w="1965960" h="1374775">
                    <a:moveTo>
                      <a:pt x="1627953" y="1206329"/>
                    </a:moveTo>
                    <a:lnTo>
                      <a:pt x="337499" y="1206329"/>
                    </a:lnTo>
                    <a:lnTo>
                      <a:pt x="342142" y="1210882"/>
                    </a:lnTo>
                    <a:lnTo>
                      <a:pt x="1624858" y="1210882"/>
                    </a:lnTo>
                    <a:lnTo>
                      <a:pt x="1627953" y="1206329"/>
                    </a:lnTo>
                    <a:close/>
                  </a:path>
                  <a:path w="1965960" h="1374775">
                    <a:moveTo>
                      <a:pt x="1637239" y="1201777"/>
                    </a:moveTo>
                    <a:lnTo>
                      <a:pt x="326665" y="1201777"/>
                    </a:lnTo>
                    <a:lnTo>
                      <a:pt x="335951" y="1206329"/>
                    </a:lnTo>
                    <a:lnTo>
                      <a:pt x="1629501" y="1206329"/>
                    </a:lnTo>
                    <a:lnTo>
                      <a:pt x="1637239" y="1201777"/>
                    </a:lnTo>
                    <a:close/>
                  </a:path>
                  <a:path w="1965960" h="1374775">
                    <a:moveTo>
                      <a:pt x="1641792" y="1197225"/>
                    </a:moveTo>
                    <a:lnTo>
                      <a:pt x="323615" y="1197225"/>
                    </a:lnTo>
                    <a:lnTo>
                      <a:pt x="325162" y="1201777"/>
                    </a:lnTo>
                    <a:lnTo>
                      <a:pt x="1640289" y="1201777"/>
                    </a:lnTo>
                    <a:lnTo>
                      <a:pt x="1641792" y="1197225"/>
                    </a:lnTo>
                    <a:close/>
                  </a:path>
                  <a:path w="1965960" h="1374775">
                    <a:moveTo>
                      <a:pt x="1649394" y="1192673"/>
                    </a:moveTo>
                    <a:lnTo>
                      <a:pt x="316012" y="1192673"/>
                    </a:lnTo>
                    <a:lnTo>
                      <a:pt x="317560" y="1197225"/>
                    </a:lnTo>
                    <a:lnTo>
                      <a:pt x="1646389" y="1197225"/>
                    </a:lnTo>
                    <a:lnTo>
                      <a:pt x="1649394" y="1192673"/>
                    </a:lnTo>
                    <a:close/>
                  </a:path>
                  <a:path w="1965960" h="1374775">
                    <a:moveTo>
                      <a:pt x="1656950" y="1188121"/>
                    </a:moveTo>
                    <a:lnTo>
                      <a:pt x="308501" y="1188121"/>
                    </a:lnTo>
                    <a:lnTo>
                      <a:pt x="310004" y="1192673"/>
                    </a:lnTo>
                    <a:lnTo>
                      <a:pt x="1655448" y="1192673"/>
                    </a:lnTo>
                    <a:lnTo>
                      <a:pt x="1656950" y="1188121"/>
                    </a:lnTo>
                    <a:close/>
                  </a:path>
                  <a:path w="1965960" h="1374775">
                    <a:moveTo>
                      <a:pt x="1662914" y="1183568"/>
                    </a:moveTo>
                    <a:lnTo>
                      <a:pt x="302538" y="1183568"/>
                    </a:lnTo>
                    <a:lnTo>
                      <a:pt x="304040" y="1188121"/>
                    </a:lnTo>
                    <a:lnTo>
                      <a:pt x="1658407" y="1188121"/>
                    </a:lnTo>
                    <a:lnTo>
                      <a:pt x="1662914" y="1183568"/>
                    </a:lnTo>
                    <a:close/>
                  </a:path>
                  <a:path w="1965960" h="1374775">
                    <a:moveTo>
                      <a:pt x="1673202" y="1179016"/>
                    </a:moveTo>
                    <a:lnTo>
                      <a:pt x="295163" y="1179016"/>
                    </a:lnTo>
                    <a:lnTo>
                      <a:pt x="296620" y="1183568"/>
                    </a:lnTo>
                    <a:lnTo>
                      <a:pt x="1668832" y="1183568"/>
                    </a:lnTo>
                    <a:lnTo>
                      <a:pt x="1673202" y="1179016"/>
                    </a:lnTo>
                    <a:close/>
                  </a:path>
                  <a:path w="1965960" h="1374775">
                    <a:moveTo>
                      <a:pt x="1676161" y="1174464"/>
                    </a:moveTo>
                    <a:lnTo>
                      <a:pt x="289291" y="1174464"/>
                    </a:lnTo>
                    <a:lnTo>
                      <a:pt x="290748" y="1179016"/>
                    </a:lnTo>
                    <a:lnTo>
                      <a:pt x="1674704" y="1179016"/>
                    </a:lnTo>
                    <a:lnTo>
                      <a:pt x="1676161" y="1174464"/>
                    </a:lnTo>
                    <a:close/>
                  </a:path>
                  <a:path w="1965960" h="1374775">
                    <a:moveTo>
                      <a:pt x="1683399" y="1169912"/>
                    </a:moveTo>
                    <a:lnTo>
                      <a:pt x="282053" y="1169912"/>
                    </a:lnTo>
                    <a:lnTo>
                      <a:pt x="283464" y="1174464"/>
                    </a:lnTo>
                    <a:lnTo>
                      <a:pt x="1681942" y="1174464"/>
                    </a:lnTo>
                    <a:lnTo>
                      <a:pt x="1683399" y="1169912"/>
                    </a:lnTo>
                    <a:close/>
                  </a:path>
                  <a:path w="1965960" h="1374775">
                    <a:moveTo>
                      <a:pt x="1689134" y="1165360"/>
                    </a:moveTo>
                    <a:lnTo>
                      <a:pt x="276272" y="1165360"/>
                    </a:lnTo>
                    <a:lnTo>
                      <a:pt x="277728" y="1169912"/>
                    </a:lnTo>
                    <a:lnTo>
                      <a:pt x="1687723" y="1169912"/>
                    </a:lnTo>
                    <a:lnTo>
                      <a:pt x="1689134" y="1165360"/>
                    </a:lnTo>
                    <a:close/>
                  </a:path>
                  <a:path w="1965960" h="1374775">
                    <a:moveTo>
                      <a:pt x="1701881" y="1156255"/>
                    </a:moveTo>
                    <a:lnTo>
                      <a:pt x="262114" y="1156255"/>
                    </a:lnTo>
                    <a:lnTo>
                      <a:pt x="271993" y="1165360"/>
                    </a:lnTo>
                    <a:lnTo>
                      <a:pt x="1694825" y="1165360"/>
                    </a:lnTo>
                    <a:lnTo>
                      <a:pt x="1696281" y="1160807"/>
                    </a:lnTo>
                    <a:lnTo>
                      <a:pt x="1700515" y="1160807"/>
                    </a:lnTo>
                    <a:lnTo>
                      <a:pt x="1701881" y="1156255"/>
                    </a:lnTo>
                    <a:close/>
                  </a:path>
                  <a:path w="1965960" h="1374775">
                    <a:moveTo>
                      <a:pt x="1714399" y="1147151"/>
                    </a:moveTo>
                    <a:lnTo>
                      <a:pt x="251053" y="1147151"/>
                    </a:lnTo>
                    <a:lnTo>
                      <a:pt x="252418" y="1151703"/>
                    </a:lnTo>
                    <a:lnTo>
                      <a:pt x="255195" y="1151703"/>
                    </a:lnTo>
                    <a:lnTo>
                      <a:pt x="259338" y="1156255"/>
                    </a:lnTo>
                    <a:lnTo>
                      <a:pt x="1706114" y="1156255"/>
                    </a:lnTo>
                    <a:lnTo>
                      <a:pt x="1714399" y="1147151"/>
                    </a:lnTo>
                    <a:close/>
                  </a:path>
                  <a:path w="1965960" h="1374775">
                    <a:moveTo>
                      <a:pt x="1726644" y="1138047"/>
                    </a:moveTo>
                    <a:lnTo>
                      <a:pt x="240173" y="1138047"/>
                    </a:lnTo>
                    <a:lnTo>
                      <a:pt x="241493" y="1142599"/>
                    </a:lnTo>
                    <a:lnTo>
                      <a:pt x="242859" y="1142599"/>
                    </a:lnTo>
                    <a:lnTo>
                      <a:pt x="246956" y="1147151"/>
                    </a:lnTo>
                    <a:lnTo>
                      <a:pt x="1718496" y="1147151"/>
                    </a:lnTo>
                    <a:lnTo>
                      <a:pt x="1726644" y="1138047"/>
                    </a:lnTo>
                    <a:close/>
                  </a:path>
                  <a:path w="1965960" h="1374775">
                    <a:moveTo>
                      <a:pt x="1731971" y="1133494"/>
                    </a:moveTo>
                    <a:lnTo>
                      <a:pt x="234801" y="1133494"/>
                    </a:lnTo>
                    <a:lnTo>
                      <a:pt x="237442" y="1138047"/>
                    </a:lnTo>
                    <a:lnTo>
                      <a:pt x="1729330" y="1138047"/>
                    </a:lnTo>
                    <a:lnTo>
                      <a:pt x="1731971" y="1133494"/>
                    </a:lnTo>
                    <a:close/>
                  </a:path>
                  <a:path w="1965960" h="1374775">
                    <a:moveTo>
                      <a:pt x="1737297" y="1128942"/>
                    </a:moveTo>
                    <a:lnTo>
                      <a:pt x="228155" y="1128942"/>
                    </a:lnTo>
                    <a:lnTo>
                      <a:pt x="232116" y="1133494"/>
                    </a:lnTo>
                    <a:lnTo>
                      <a:pt x="1734656" y="1133494"/>
                    </a:lnTo>
                    <a:lnTo>
                      <a:pt x="1737297" y="1128942"/>
                    </a:lnTo>
                    <a:close/>
                  </a:path>
                  <a:path w="1965960" h="1374775">
                    <a:moveTo>
                      <a:pt x="1741211" y="1124390"/>
                    </a:moveTo>
                    <a:lnTo>
                      <a:pt x="224195" y="1124390"/>
                    </a:lnTo>
                    <a:lnTo>
                      <a:pt x="226835" y="1128942"/>
                    </a:lnTo>
                    <a:lnTo>
                      <a:pt x="1739891" y="1128942"/>
                    </a:lnTo>
                    <a:lnTo>
                      <a:pt x="1741211" y="1124390"/>
                    </a:lnTo>
                    <a:close/>
                  </a:path>
                  <a:path w="1965960" h="1374775">
                    <a:moveTo>
                      <a:pt x="1746446" y="1119838"/>
                    </a:moveTo>
                    <a:lnTo>
                      <a:pt x="219005" y="1119838"/>
                    </a:lnTo>
                    <a:lnTo>
                      <a:pt x="221600" y="1124390"/>
                    </a:lnTo>
                    <a:lnTo>
                      <a:pt x="1745126" y="1124390"/>
                    </a:lnTo>
                    <a:lnTo>
                      <a:pt x="1746446" y="1119838"/>
                    </a:lnTo>
                    <a:close/>
                  </a:path>
                  <a:path w="1965960" h="1374775">
                    <a:moveTo>
                      <a:pt x="1757964" y="1110733"/>
                    </a:moveTo>
                    <a:lnTo>
                      <a:pt x="207488" y="1110733"/>
                    </a:lnTo>
                    <a:lnTo>
                      <a:pt x="215136" y="1119838"/>
                    </a:lnTo>
                    <a:lnTo>
                      <a:pt x="1750316" y="1119838"/>
                    </a:lnTo>
                    <a:lnTo>
                      <a:pt x="1757964" y="1110733"/>
                    </a:lnTo>
                    <a:close/>
                  </a:path>
                  <a:path w="1965960" h="1374775">
                    <a:moveTo>
                      <a:pt x="1762971" y="1106181"/>
                    </a:moveTo>
                    <a:lnTo>
                      <a:pt x="202435" y="1106181"/>
                    </a:lnTo>
                    <a:lnTo>
                      <a:pt x="203710" y="1110733"/>
                    </a:lnTo>
                    <a:lnTo>
                      <a:pt x="1761742" y="1110733"/>
                    </a:lnTo>
                    <a:lnTo>
                      <a:pt x="1762971" y="1106181"/>
                    </a:lnTo>
                    <a:close/>
                  </a:path>
                  <a:path w="1965960" h="1374775">
                    <a:moveTo>
                      <a:pt x="1771666" y="1097077"/>
                    </a:moveTo>
                    <a:lnTo>
                      <a:pt x="193786" y="1097077"/>
                    </a:lnTo>
                    <a:lnTo>
                      <a:pt x="195015" y="1101629"/>
                    </a:lnTo>
                    <a:lnTo>
                      <a:pt x="197473" y="1101629"/>
                    </a:lnTo>
                    <a:lnTo>
                      <a:pt x="198703" y="1106181"/>
                    </a:lnTo>
                    <a:lnTo>
                      <a:pt x="1764246" y="1106181"/>
                    </a:lnTo>
                    <a:lnTo>
                      <a:pt x="1770437" y="1101629"/>
                    </a:lnTo>
                    <a:lnTo>
                      <a:pt x="1771666" y="1097077"/>
                    </a:lnTo>
                    <a:close/>
                  </a:path>
                  <a:path w="1965960" h="1374775">
                    <a:moveTo>
                      <a:pt x="1776536" y="1092525"/>
                    </a:moveTo>
                    <a:lnTo>
                      <a:pt x="188915" y="1092525"/>
                    </a:lnTo>
                    <a:lnTo>
                      <a:pt x="190099" y="1097077"/>
                    </a:lnTo>
                    <a:lnTo>
                      <a:pt x="1775307" y="1097077"/>
                    </a:lnTo>
                    <a:lnTo>
                      <a:pt x="1776536" y="1092525"/>
                    </a:lnTo>
                    <a:close/>
                  </a:path>
                  <a:path w="1965960" h="1374775">
                    <a:moveTo>
                      <a:pt x="1782545" y="1087972"/>
                    </a:moveTo>
                    <a:lnTo>
                      <a:pt x="184090" y="1087972"/>
                    </a:lnTo>
                    <a:lnTo>
                      <a:pt x="185274" y="1092525"/>
                    </a:lnTo>
                    <a:lnTo>
                      <a:pt x="1780178" y="1092525"/>
                    </a:lnTo>
                    <a:lnTo>
                      <a:pt x="1782545" y="1087972"/>
                    </a:lnTo>
                    <a:close/>
                  </a:path>
                  <a:path w="1965960" h="1374775">
                    <a:moveTo>
                      <a:pt x="1790830" y="1078868"/>
                    </a:moveTo>
                    <a:lnTo>
                      <a:pt x="174576" y="1078868"/>
                    </a:lnTo>
                    <a:lnTo>
                      <a:pt x="180494" y="1087972"/>
                    </a:lnTo>
                    <a:lnTo>
                      <a:pt x="1784958" y="1087972"/>
                    </a:lnTo>
                    <a:lnTo>
                      <a:pt x="1789692" y="1083420"/>
                    </a:lnTo>
                    <a:lnTo>
                      <a:pt x="1790830" y="1078868"/>
                    </a:lnTo>
                    <a:close/>
                  </a:path>
                  <a:path w="1965960" h="1374775">
                    <a:moveTo>
                      <a:pt x="1797795" y="1074316"/>
                    </a:moveTo>
                    <a:lnTo>
                      <a:pt x="169933" y="1074316"/>
                    </a:lnTo>
                    <a:lnTo>
                      <a:pt x="171071" y="1078868"/>
                    </a:lnTo>
                    <a:lnTo>
                      <a:pt x="1793197" y="1078868"/>
                    </a:lnTo>
                    <a:lnTo>
                      <a:pt x="1797795" y="1074316"/>
                    </a:lnTo>
                    <a:close/>
                  </a:path>
                  <a:path w="1965960" h="1374775">
                    <a:moveTo>
                      <a:pt x="1800117" y="1069764"/>
                    </a:moveTo>
                    <a:lnTo>
                      <a:pt x="165335" y="1069764"/>
                    </a:lnTo>
                    <a:lnTo>
                      <a:pt x="166473" y="1074316"/>
                    </a:lnTo>
                    <a:lnTo>
                      <a:pt x="1798979" y="1074316"/>
                    </a:lnTo>
                    <a:lnTo>
                      <a:pt x="1800117" y="1069764"/>
                    </a:lnTo>
                    <a:close/>
                  </a:path>
                  <a:path w="1965960" h="1374775">
                    <a:moveTo>
                      <a:pt x="1805761" y="1065212"/>
                    </a:moveTo>
                    <a:lnTo>
                      <a:pt x="161921" y="1065212"/>
                    </a:lnTo>
                    <a:lnTo>
                      <a:pt x="163059" y="1069764"/>
                    </a:lnTo>
                    <a:lnTo>
                      <a:pt x="1802393" y="1069764"/>
                    </a:lnTo>
                    <a:lnTo>
                      <a:pt x="1805761" y="1065212"/>
                    </a:lnTo>
                    <a:close/>
                  </a:path>
                  <a:path w="1965960" h="1374775">
                    <a:moveTo>
                      <a:pt x="1807992" y="1060659"/>
                    </a:moveTo>
                    <a:lnTo>
                      <a:pt x="155184" y="1060659"/>
                    </a:lnTo>
                    <a:lnTo>
                      <a:pt x="160783" y="1065212"/>
                    </a:lnTo>
                    <a:lnTo>
                      <a:pt x="1806900" y="1065212"/>
                    </a:lnTo>
                    <a:lnTo>
                      <a:pt x="1807992" y="1060659"/>
                    </a:lnTo>
                    <a:close/>
                  </a:path>
                  <a:path w="1965960" h="1374775">
                    <a:moveTo>
                      <a:pt x="1812453" y="1056107"/>
                    </a:moveTo>
                    <a:lnTo>
                      <a:pt x="151860" y="1056107"/>
                    </a:lnTo>
                    <a:lnTo>
                      <a:pt x="154091" y="1060659"/>
                    </a:lnTo>
                    <a:lnTo>
                      <a:pt x="1810223" y="1060659"/>
                    </a:lnTo>
                    <a:lnTo>
                      <a:pt x="1812453" y="1056107"/>
                    </a:lnTo>
                    <a:close/>
                  </a:path>
                  <a:path w="1965960" h="1374775">
                    <a:moveTo>
                      <a:pt x="1820101" y="1047003"/>
                    </a:moveTo>
                    <a:lnTo>
                      <a:pt x="144258" y="1047003"/>
                    </a:lnTo>
                    <a:lnTo>
                      <a:pt x="147536" y="1051555"/>
                    </a:lnTo>
                    <a:lnTo>
                      <a:pt x="148583" y="1051555"/>
                    </a:lnTo>
                    <a:lnTo>
                      <a:pt x="149675" y="1056107"/>
                    </a:lnTo>
                    <a:lnTo>
                      <a:pt x="1815731" y="1056107"/>
                    </a:lnTo>
                    <a:lnTo>
                      <a:pt x="1816823" y="1051555"/>
                    </a:lnTo>
                    <a:lnTo>
                      <a:pt x="1820101" y="1047003"/>
                    </a:lnTo>
                    <a:close/>
                  </a:path>
                  <a:path w="1965960" h="1374775">
                    <a:moveTo>
                      <a:pt x="1824380" y="1042451"/>
                    </a:moveTo>
                    <a:lnTo>
                      <a:pt x="140025" y="1042451"/>
                    </a:lnTo>
                    <a:lnTo>
                      <a:pt x="142119" y="1047003"/>
                    </a:lnTo>
                    <a:lnTo>
                      <a:pt x="1823287" y="1047003"/>
                    </a:lnTo>
                    <a:lnTo>
                      <a:pt x="1824380" y="1042451"/>
                    </a:lnTo>
                    <a:close/>
                  </a:path>
                  <a:path w="1965960" h="1374775">
                    <a:moveTo>
                      <a:pt x="1832756" y="1033346"/>
                    </a:moveTo>
                    <a:lnTo>
                      <a:pt x="133743" y="1033346"/>
                    </a:lnTo>
                    <a:lnTo>
                      <a:pt x="135791" y="1037898"/>
                    </a:lnTo>
                    <a:lnTo>
                      <a:pt x="137885" y="1042451"/>
                    </a:lnTo>
                    <a:lnTo>
                      <a:pt x="1826474" y="1042451"/>
                    </a:lnTo>
                    <a:lnTo>
                      <a:pt x="1829615" y="1037898"/>
                    </a:lnTo>
                    <a:lnTo>
                      <a:pt x="1830662" y="1037898"/>
                    </a:lnTo>
                    <a:lnTo>
                      <a:pt x="1832756" y="1033346"/>
                    </a:lnTo>
                    <a:close/>
                  </a:path>
                  <a:path w="1965960" h="1374775">
                    <a:moveTo>
                      <a:pt x="1835806" y="1028794"/>
                    </a:moveTo>
                    <a:lnTo>
                      <a:pt x="128599" y="1028794"/>
                    </a:lnTo>
                    <a:lnTo>
                      <a:pt x="132696" y="1033346"/>
                    </a:lnTo>
                    <a:lnTo>
                      <a:pt x="1834804" y="1033346"/>
                    </a:lnTo>
                    <a:lnTo>
                      <a:pt x="1835806" y="1028794"/>
                    </a:lnTo>
                    <a:close/>
                  </a:path>
                  <a:path w="1965960" h="1374775">
                    <a:moveTo>
                      <a:pt x="1846822" y="1015137"/>
                    </a:moveTo>
                    <a:lnTo>
                      <a:pt x="118584" y="1015137"/>
                    </a:lnTo>
                    <a:lnTo>
                      <a:pt x="120587" y="1019690"/>
                    </a:lnTo>
                    <a:lnTo>
                      <a:pt x="122544" y="1019690"/>
                    </a:lnTo>
                    <a:lnTo>
                      <a:pt x="124547" y="1024242"/>
                    </a:lnTo>
                    <a:lnTo>
                      <a:pt x="125549" y="1024242"/>
                    </a:lnTo>
                    <a:lnTo>
                      <a:pt x="126550" y="1028794"/>
                    </a:lnTo>
                    <a:lnTo>
                      <a:pt x="1837854" y="1028794"/>
                    </a:lnTo>
                    <a:lnTo>
                      <a:pt x="1840904" y="1024242"/>
                    </a:lnTo>
                    <a:lnTo>
                      <a:pt x="1845866" y="1019690"/>
                    </a:lnTo>
                    <a:lnTo>
                      <a:pt x="1846822" y="1015137"/>
                    </a:lnTo>
                    <a:close/>
                  </a:path>
                  <a:path w="1965960" h="1374775">
                    <a:moveTo>
                      <a:pt x="1855517" y="1006033"/>
                    </a:moveTo>
                    <a:lnTo>
                      <a:pt x="109935" y="1006033"/>
                    </a:lnTo>
                    <a:lnTo>
                      <a:pt x="116627" y="1015137"/>
                    </a:lnTo>
                    <a:lnTo>
                      <a:pt x="1849781" y="1015137"/>
                    </a:lnTo>
                    <a:lnTo>
                      <a:pt x="1855517" y="1006033"/>
                    </a:lnTo>
                    <a:close/>
                  </a:path>
                  <a:path w="1965960" h="1374775">
                    <a:moveTo>
                      <a:pt x="1858339" y="1001481"/>
                    </a:moveTo>
                    <a:lnTo>
                      <a:pt x="108068" y="1001481"/>
                    </a:lnTo>
                    <a:lnTo>
                      <a:pt x="108979" y="1006033"/>
                    </a:lnTo>
                    <a:lnTo>
                      <a:pt x="1856427" y="1006033"/>
                    </a:lnTo>
                    <a:lnTo>
                      <a:pt x="1858339" y="1001481"/>
                    </a:lnTo>
                    <a:close/>
                  </a:path>
                  <a:path w="1965960" h="1374775">
                    <a:moveTo>
                      <a:pt x="1860206" y="996929"/>
                    </a:moveTo>
                    <a:lnTo>
                      <a:pt x="105246" y="996929"/>
                    </a:lnTo>
                    <a:lnTo>
                      <a:pt x="106202" y="1001481"/>
                    </a:lnTo>
                    <a:lnTo>
                      <a:pt x="1859250" y="1001481"/>
                    </a:lnTo>
                    <a:lnTo>
                      <a:pt x="1860206" y="996929"/>
                    </a:lnTo>
                    <a:close/>
                  </a:path>
                  <a:path w="1965960" h="1374775">
                    <a:moveTo>
                      <a:pt x="1863847" y="992377"/>
                    </a:moveTo>
                    <a:lnTo>
                      <a:pt x="101559" y="992377"/>
                    </a:lnTo>
                    <a:lnTo>
                      <a:pt x="102469" y="996929"/>
                    </a:lnTo>
                    <a:lnTo>
                      <a:pt x="1862937" y="996929"/>
                    </a:lnTo>
                    <a:lnTo>
                      <a:pt x="1863847" y="992377"/>
                    </a:lnTo>
                    <a:close/>
                  </a:path>
                  <a:path w="1965960" h="1374775">
                    <a:moveTo>
                      <a:pt x="1866579" y="987824"/>
                    </a:moveTo>
                    <a:lnTo>
                      <a:pt x="98873" y="987824"/>
                    </a:lnTo>
                    <a:lnTo>
                      <a:pt x="99738" y="992377"/>
                    </a:lnTo>
                    <a:lnTo>
                      <a:pt x="1865668" y="992377"/>
                    </a:lnTo>
                    <a:lnTo>
                      <a:pt x="1866579" y="987824"/>
                    </a:lnTo>
                    <a:close/>
                  </a:path>
                  <a:path w="1965960" h="1374775">
                    <a:moveTo>
                      <a:pt x="1870129" y="983272"/>
                    </a:moveTo>
                    <a:lnTo>
                      <a:pt x="95277" y="983272"/>
                    </a:lnTo>
                    <a:lnTo>
                      <a:pt x="96187" y="987824"/>
                    </a:lnTo>
                    <a:lnTo>
                      <a:pt x="1869265" y="987824"/>
                    </a:lnTo>
                    <a:lnTo>
                      <a:pt x="1870129" y="983272"/>
                    </a:lnTo>
                    <a:close/>
                  </a:path>
                  <a:path w="1965960" h="1374775">
                    <a:moveTo>
                      <a:pt x="1873635" y="978720"/>
                    </a:moveTo>
                    <a:lnTo>
                      <a:pt x="92637" y="978720"/>
                    </a:lnTo>
                    <a:lnTo>
                      <a:pt x="93547" y="983272"/>
                    </a:lnTo>
                    <a:lnTo>
                      <a:pt x="1871905" y="983272"/>
                    </a:lnTo>
                    <a:lnTo>
                      <a:pt x="1873635" y="978720"/>
                    </a:lnTo>
                    <a:close/>
                  </a:path>
                  <a:path w="1965960" h="1374775">
                    <a:moveTo>
                      <a:pt x="1877094" y="974168"/>
                    </a:moveTo>
                    <a:lnTo>
                      <a:pt x="89177" y="974168"/>
                    </a:lnTo>
                    <a:lnTo>
                      <a:pt x="90907" y="978720"/>
                    </a:lnTo>
                    <a:lnTo>
                      <a:pt x="1874500" y="978720"/>
                    </a:lnTo>
                    <a:lnTo>
                      <a:pt x="1877094" y="974168"/>
                    </a:lnTo>
                    <a:close/>
                  </a:path>
                  <a:path w="1965960" h="1374775">
                    <a:moveTo>
                      <a:pt x="1878779" y="969616"/>
                    </a:moveTo>
                    <a:lnTo>
                      <a:pt x="86628" y="969616"/>
                    </a:lnTo>
                    <a:lnTo>
                      <a:pt x="87493" y="974168"/>
                    </a:lnTo>
                    <a:lnTo>
                      <a:pt x="1877959" y="974168"/>
                    </a:lnTo>
                    <a:lnTo>
                      <a:pt x="1878779" y="969616"/>
                    </a:lnTo>
                    <a:close/>
                  </a:path>
                  <a:path w="1965960" h="1374775">
                    <a:moveTo>
                      <a:pt x="1887837" y="955959"/>
                    </a:moveTo>
                    <a:lnTo>
                      <a:pt x="77569" y="955959"/>
                    </a:lnTo>
                    <a:lnTo>
                      <a:pt x="84943" y="969616"/>
                    </a:lnTo>
                    <a:lnTo>
                      <a:pt x="1881328" y="969616"/>
                    </a:lnTo>
                    <a:lnTo>
                      <a:pt x="1887064" y="960511"/>
                    </a:lnTo>
                    <a:lnTo>
                      <a:pt x="1887837" y="955959"/>
                    </a:lnTo>
                    <a:close/>
                  </a:path>
                  <a:path w="1965960" h="1374775">
                    <a:moveTo>
                      <a:pt x="1890250" y="951407"/>
                    </a:moveTo>
                    <a:lnTo>
                      <a:pt x="74428" y="951407"/>
                    </a:lnTo>
                    <a:lnTo>
                      <a:pt x="75976" y="955959"/>
                    </a:lnTo>
                    <a:lnTo>
                      <a:pt x="1889431" y="955959"/>
                    </a:lnTo>
                    <a:lnTo>
                      <a:pt x="1890250" y="951407"/>
                    </a:lnTo>
                    <a:close/>
                  </a:path>
                  <a:path w="1965960" h="1374775">
                    <a:moveTo>
                      <a:pt x="1892572" y="946855"/>
                    </a:moveTo>
                    <a:lnTo>
                      <a:pt x="72835" y="946855"/>
                    </a:lnTo>
                    <a:lnTo>
                      <a:pt x="73608" y="951407"/>
                    </a:lnTo>
                    <a:lnTo>
                      <a:pt x="1891798" y="951407"/>
                    </a:lnTo>
                    <a:lnTo>
                      <a:pt x="1892572" y="946855"/>
                    </a:lnTo>
                    <a:close/>
                  </a:path>
                  <a:path w="1965960" h="1374775">
                    <a:moveTo>
                      <a:pt x="1895667" y="942302"/>
                    </a:moveTo>
                    <a:lnTo>
                      <a:pt x="69785" y="942302"/>
                    </a:lnTo>
                    <a:lnTo>
                      <a:pt x="70558" y="946855"/>
                    </a:lnTo>
                    <a:lnTo>
                      <a:pt x="1894893" y="946855"/>
                    </a:lnTo>
                    <a:lnTo>
                      <a:pt x="1895667" y="942302"/>
                    </a:lnTo>
                    <a:close/>
                  </a:path>
                  <a:path w="1965960" h="1374775">
                    <a:moveTo>
                      <a:pt x="1897943" y="937750"/>
                    </a:moveTo>
                    <a:lnTo>
                      <a:pt x="67508" y="937750"/>
                    </a:lnTo>
                    <a:lnTo>
                      <a:pt x="68237" y="942302"/>
                    </a:lnTo>
                    <a:lnTo>
                      <a:pt x="1897169" y="942302"/>
                    </a:lnTo>
                    <a:lnTo>
                      <a:pt x="1897943" y="937750"/>
                    </a:lnTo>
                    <a:close/>
                  </a:path>
                  <a:path w="1965960" h="1374775">
                    <a:moveTo>
                      <a:pt x="1900902" y="933198"/>
                    </a:moveTo>
                    <a:lnTo>
                      <a:pt x="64550" y="933198"/>
                    </a:lnTo>
                    <a:lnTo>
                      <a:pt x="65278" y="937750"/>
                    </a:lnTo>
                    <a:lnTo>
                      <a:pt x="1900174" y="937750"/>
                    </a:lnTo>
                    <a:lnTo>
                      <a:pt x="1900902" y="933198"/>
                    </a:lnTo>
                    <a:close/>
                  </a:path>
                  <a:path w="1965960" h="1374775">
                    <a:moveTo>
                      <a:pt x="1903087" y="928646"/>
                    </a:moveTo>
                    <a:lnTo>
                      <a:pt x="62364" y="928646"/>
                    </a:lnTo>
                    <a:lnTo>
                      <a:pt x="63093" y="933198"/>
                    </a:lnTo>
                    <a:lnTo>
                      <a:pt x="1902359" y="933198"/>
                    </a:lnTo>
                    <a:lnTo>
                      <a:pt x="1903087" y="928646"/>
                    </a:lnTo>
                    <a:close/>
                  </a:path>
                  <a:path w="1965960" h="1374775">
                    <a:moveTo>
                      <a:pt x="1905227" y="924094"/>
                    </a:moveTo>
                    <a:lnTo>
                      <a:pt x="60225" y="924094"/>
                    </a:lnTo>
                    <a:lnTo>
                      <a:pt x="60908" y="928646"/>
                    </a:lnTo>
                    <a:lnTo>
                      <a:pt x="1904498" y="928646"/>
                    </a:lnTo>
                    <a:lnTo>
                      <a:pt x="1905227" y="924094"/>
                    </a:lnTo>
                    <a:close/>
                  </a:path>
                  <a:path w="1965960" h="1374775">
                    <a:moveTo>
                      <a:pt x="1912101" y="910437"/>
                    </a:moveTo>
                    <a:lnTo>
                      <a:pt x="53306" y="910437"/>
                    </a:lnTo>
                    <a:lnTo>
                      <a:pt x="57403" y="919542"/>
                    </a:lnTo>
                    <a:lnTo>
                      <a:pt x="58085" y="924094"/>
                    </a:lnTo>
                    <a:lnTo>
                      <a:pt x="1907321" y="924094"/>
                    </a:lnTo>
                    <a:lnTo>
                      <a:pt x="1908049" y="919542"/>
                    </a:lnTo>
                    <a:lnTo>
                      <a:pt x="1911463" y="914989"/>
                    </a:lnTo>
                    <a:lnTo>
                      <a:pt x="1912101" y="910437"/>
                    </a:lnTo>
                    <a:close/>
                  </a:path>
                  <a:path w="1965960" h="1374775">
                    <a:moveTo>
                      <a:pt x="1914741" y="905885"/>
                    </a:moveTo>
                    <a:lnTo>
                      <a:pt x="50665" y="905885"/>
                    </a:lnTo>
                    <a:lnTo>
                      <a:pt x="51348" y="910437"/>
                    </a:lnTo>
                    <a:lnTo>
                      <a:pt x="1913466" y="910437"/>
                    </a:lnTo>
                    <a:lnTo>
                      <a:pt x="1914741" y="905885"/>
                    </a:lnTo>
                    <a:close/>
                  </a:path>
                  <a:path w="1965960" h="1374775">
                    <a:moveTo>
                      <a:pt x="1919248" y="896781"/>
                    </a:moveTo>
                    <a:lnTo>
                      <a:pt x="45567" y="896781"/>
                    </a:lnTo>
                    <a:lnTo>
                      <a:pt x="49391" y="905885"/>
                    </a:lnTo>
                    <a:lnTo>
                      <a:pt x="1916061" y="905885"/>
                    </a:lnTo>
                    <a:lnTo>
                      <a:pt x="1919248" y="896781"/>
                    </a:lnTo>
                    <a:close/>
                  </a:path>
                  <a:path w="1965960" h="1374775">
                    <a:moveTo>
                      <a:pt x="1922889" y="887676"/>
                    </a:moveTo>
                    <a:lnTo>
                      <a:pt x="42562" y="887676"/>
                    </a:lnTo>
                    <a:lnTo>
                      <a:pt x="44338" y="892228"/>
                    </a:lnTo>
                    <a:lnTo>
                      <a:pt x="44975" y="896781"/>
                    </a:lnTo>
                    <a:lnTo>
                      <a:pt x="1920477" y="896781"/>
                    </a:lnTo>
                    <a:lnTo>
                      <a:pt x="1921068" y="892228"/>
                    </a:lnTo>
                    <a:lnTo>
                      <a:pt x="1921706" y="892228"/>
                    </a:lnTo>
                    <a:lnTo>
                      <a:pt x="1922889" y="887676"/>
                    </a:lnTo>
                    <a:close/>
                  </a:path>
                  <a:path w="1965960" h="1374775">
                    <a:moveTo>
                      <a:pt x="1924665" y="883124"/>
                    </a:moveTo>
                    <a:lnTo>
                      <a:pt x="40742" y="883124"/>
                    </a:lnTo>
                    <a:lnTo>
                      <a:pt x="41925" y="887676"/>
                    </a:lnTo>
                    <a:lnTo>
                      <a:pt x="1923481" y="887676"/>
                    </a:lnTo>
                    <a:lnTo>
                      <a:pt x="1924665" y="883124"/>
                    </a:lnTo>
                    <a:close/>
                  </a:path>
                  <a:path w="1965960" h="1374775">
                    <a:moveTo>
                      <a:pt x="1926986" y="878572"/>
                    </a:moveTo>
                    <a:lnTo>
                      <a:pt x="38465" y="878572"/>
                    </a:lnTo>
                    <a:lnTo>
                      <a:pt x="39012" y="883124"/>
                    </a:lnTo>
                    <a:lnTo>
                      <a:pt x="1926394" y="883124"/>
                    </a:lnTo>
                    <a:lnTo>
                      <a:pt x="1926986" y="878572"/>
                    </a:lnTo>
                    <a:close/>
                  </a:path>
                  <a:path w="1965960" h="1374775">
                    <a:moveTo>
                      <a:pt x="1928671" y="874020"/>
                    </a:moveTo>
                    <a:lnTo>
                      <a:pt x="36781" y="874020"/>
                    </a:lnTo>
                    <a:lnTo>
                      <a:pt x="37327" y="878572"/>
                    </a:lnTo>
                    <a:lnTo>
                      <a:pt x="1928124" y="878572"/>
                    </a:lnTo>
                    <a:lnTo>
                      <a:pt x="1928671" y="874020"/>
                    </a:lnTo>
                    <a:close/>
                  </a:path>
                  <a:path w="1965960" h="1374775">
                    <a:moveTo>
                      <a:pt x="1930309" y="869467"/>
                    </a:moveTo>
                    <a:lnTo>
                      <a:pt x="35097" y="869467"/>
                    </a:lnTo>
                    <a:lnTo>
                      <a:pt x="35643" y="874020"/>
                    </a:lnTo>
                    <a:lnTo>
                      <a:pt x="1929763" y="874020"/>
                    </a:lnTo>
                    <a:lnTo>
                      <a:pt x="1930309" y="869467"/>
                    </a:lnTo>
                    <a:close/>
                  </a:path>
                  <a:path w="1965960" h="1374775">
                    <a:moveTo>
                      <a:pt x="1932494" y="864915"/>
                    </a:moveTo>
                    <a:lnTo>
                      <a:pt x="32957" y="864915"/>
                    </a:lnTo>
                    <a:lnTo>
                      <a:pt x="33504" y="869467"/>
                    </a:lnTo>
                    <a:lnTo>
                      <a:pt x="1931948" y="869467"/>
                    </a:lnTo>
                    <a:lnTo>
                      <a:pt x="1932494" y="864915"/>
                    </a:lnTo>
                    <a:close/>
                  </a:path>
                  <a:path w="1965960" h="1374775">
                    <a:moveTo>
                      <a:pt x="1934042" y="860363"/>
                    </a:moveTo>
                    <a:lnTo>
                      <a:pt x="31410" y="860363"/>
                    </a:lnTo>
                    <a:lnTo>
                      <a:pt x="32411" y="864915"/>
                    </a:lnTo>
                    <a:lnTo>
                      <a:pt x="1933541" y="864915"/>
                    </a:lnTo>
                    <a:lnTo>
                      <a:pt x="1934042" y="860363"/>
                    </a:lnTo>
                    <a:close/>
                  </a:path>
                  <a:path w="1965960" h="1374775">
                    <a:moveTo>
                      <a:pt x="1935590" y="855811"/>
                    </a:moveTo>
                    <a:lnTo>
                      <a:pt x="29862" y="855811"/>
                    </a:lnTo>
                    <a:lnTo>
                      <a:pt x="30863" y="860363"/>
                    </a:lnTo>
                    <a:lnTo>
                      <a:pt x="1935089" y="860363"/>
                    </a:lnTo>
                    <a:lnTo>
                      <a:pt x="1935590" y="855811"/>
                    </a:lnTo>
                    <a:close/>
                  </a:path>
                  <a:path w="1965960" h="1374775">
                    <a:moveTo>
                      <a:pt x="1937047" y="851259"/>
                    </a:moveTo>
                    <a:lnTo>
                      <a:pt x="27859" y="851259"/>
                    </a:lnTo>
                    <a:lnTo>
                      <a:pt x="29361" y="855811"/>
                    </a:lnTo>
                    <a:lnTo>
                      <a:pt x="1936591" y="855811"/>
                    </a:lnTo>
                    <a:lnTo>
                      <a:pt x="1937047" y="851259"/>
                    </a:lnTo>
                    <a:close/>
                  </a:path>
                  <a:path w="1965960" h="1374775">
                    <a:moveTo>
                      <a:pt x="1939004" y="846706"/>
                    </a:moveTo>
                    <a:lnTo>
                      <a:pt x="26448" y="846706"/>
                    </a:lnTo>
                    <a:lnTo>
                      <a:pt x="26903" y="851259"/>
                    </a:lnTo>
                    <a:lnTo>
                      <a:pt x="1938503" y="851259"/>
                    </a:lnTo>
                    <a:lnTo>
                      <a:pt x="1939004" y="846706"/>
                    </a:lnTo>
                    <a:close/>
                  </a:path>
                  <a:path w="1965960" h="1374775">
                    <a:moveTo>
                      <a:pt x="1943101" y="833050"/>
                    </a:moveTo>
                    <a:lnTo>
                      <a:pt x="22351" y="833050"/>
                    </a:lnTo>
                    <a:lnTo>
                      <a:pt x="22760" y="837602"/>
                    </a:lnTo>
                    <a:lnTo>
                      <a:pt x="25037" y="842154"/>
                    </a:lnTo>
                    <a:lnTo>
                      <a:pt x="25492" y="846706"/>
                    </a:lnTo>
                    <a:lnTo>
                      <a:pt x="1939914" y="846706"/>
                    </a:lnTo>
                    <a:lnTo>
                      <a:pt x="1940415" y="842154"/>
                    </a:lnTo>
                    <a:lnTo>
                      <a:pt x="1942236" y="837602"/>
                    </a:lnTo>
                    <a:lnTo>
                      <a:pt x="1942646" y="837602"/>
                    </a:lnTo>
                    <a:lnTo>
                      <a:pt x="1943101" y="833050"/>
                    </a:lnTo>
                    <a:close/>
                  </a:path>
                  <a:path w="1965960" h="1374775">
                    <a:moveTo>
                      <a:pt x="1944376" y="828498"/>
                    </a:moveTo>
                    <a:lnTo>
                      <a:pt x="21031" y="828498"/>
                    </a:lnTo>
                    <a:lnTo>
                      <a:pt x="21486" y="833050"/>
                    </a:lnTo>
                    <a:lnTo>
                      <a:pt x="1943966" y="833050"/>
                    </a:lnTo>
                    <a:lnTo>
                      <a:pt x="1944376" y="828498"/>
                    </a:lnTo>
                    <a:close/>
                  </a:path>
                  <a:path w="1965960" h="1374775">
                    <a:moveTo>
                      <a:pt x="1946060" y="823946"/>
                    </a:moveTo>
                    <a:lnTo>
                      <a:pt x="19392" y="823946"/>
                    </a:lnTo>
                    <a:lnTo>
                      <a:pt x="19802" y="828498"/>
                    </a:lnTo>
                    <a:lnTo>
                      <a:pt x="1945650" y="828498"/>
                    </a:lnTo>
                    <a:lnTo>
                      <a:pt x="1946060" y="823946"/>
                    </a:lnTo>
                    <a:close/>
                  </a:path>
                  <a:path w="1965960" h="1374775">
                    <a:moveTo>
                      <a:pt x="1947653" y="819393"/>
                    </a:moveTo>
                    <a:lnTo>
                      <a:pt x="18208" y="819393"/>
                    </a:lnTo>
                    <a:lnTo>
                      <a:pt x="18572" y="823946"/>
                    </a:lnTo>
                    <a:lnTo>
                      <a:pt x="1946834" y="823946"/>
                    </a:lnTo>
                    <a:lnTo>
                      <a:pt x="1947653" y="819393"/>
                    </a:lnTo>
                    <a:close/>
                  </a:path>
                  <a:path w="1965960" h="1374775">
                    <a:moveTo>
                      <a:pt x="1949884" y="810289"/>
                    </a:moveTo>
                    <a:lnTo>
                      <a:pt x="15522" y="810289"/>
                    </a:lnTo>
                    <a:lnTo>
                      <a:pt x="16251" y="814841"/>
                    </a:lnTo>
                    <a:lnTo>
                      <a:pt x="16661" y="814841"/>
                    </a:lnTo>
                    <a:lnTo>
                      <a:pt x="17389" y="819393"/>
                    </a:lnTo>
                    <a:lnTo>
                      <a:pt x="1948017" y="819393"/>
                    </a:lnTo>
                    <a:lnTo>
                      <a:pt x="1948427" y="814841"/>
                    </a:lnTo>
                    <a:lnTo>
                      <a:pt x="1949884" y="810289"/>
                    </a:lnTo>
                    <a:close/>
                  </a:path>
                  <a:path w="1965960" h="1374775">
                    <a:moveTo>
                      <a:pt x="1951340" y="805737"/>
                    </a:moveTo>
                    <a:lnTo>
                      <a:pt x="14475" y="805737"/>
                    </a:lnTo>
                    <a:lnTo>
                      <a:pt x="14794" y="810289"/>
                    </a:lnTo>
                    <a:lnTo>
                      <a:pt x="1950248" y="810289"/>
                    </a:lnTo>
                    <a:lnTo>
                      <a:pt x="1951340" y="805737"/>
                    </a:lnTo>
                    <a:close/>
                  </a:path>
                  <a:path w="1965960" h="1374775">
                    <a:moveTo>
                      <a:pt x="1952023" y="801185"/>
                    </a:moveTo>
                    <a:lnTo>
                      <a:pt x="13428" y="801185"/>
                    </a:lnTo>
                    <a:lnTo>
                      <a:pt x="13747" y="805737"/>
                    </a:lnTo>
                    <a:lnTo>
                      <a:pt x="1951659" y="805737"/>
                    </a:lnTo>
                    <a:lnTo>
                      <a:pt x="1952023" y="801185"/>
                    </a:lnTo>
                    <a:close/>
                  </a:path>
                  <a:path w="1965960" h="1374775">
                    <a:moveTo>
                      <a:pt x="1953025" y="796632"/>
                    </a:moveTo>
                    <a:lnTo>
                      <a:pt x="12108" y="796632"/>
                    </a:lnTo>
                    <a:lnTo>
                      <a:pt x="13064" y="801185"/>
                    </a:lnTo>
                    <a:lnTo>
                      <a:pt x="1952661" y="801185"/>
                    </a:lnTo>
                    <a:lnTo>
                      <a:pt x="1953025" y="796632"/>
                    </a:lnTo>
                    <a:close/>
                  </a:path>
                  <a:path w="1965960" h="1374775">
                    <a:moveTo>
                      <a:pt x="1954299" y="792080"/>
                    </a:moveTo>
                    <a:lnTo>
                      <a:pt x="11152" y="792080"/>
                    </a:lnTo>
                    <a:lnTo>
                      <a:pt x="11790" y="796632"/>
                    </a:lnTo>
                    <a:lnTo>
                      <a:pt x="1953662" y="796632"/>
                    </a:lnTo>
                    <a:lnTo>
                      <a:pt x="1954299" y="792080"/>
                    </a:lnTo>
                    <a:close/>
                  </a:path>
                  <a:path w="1965960" h="1374775">
                    <a:moveTo>
                      <a:pt x="1955210" y="787528"/>
                    </a:moveTo>
                    <a:lnTo>
                      <a:pt x="10561" y="787528"/>
                    </a:lnTo>
                    <a:lnTo>
                      <a:pt x="10834" y="792080"/>
                    </a:lnTo>
                    <a:lnTo>
                      <a:pt x="1954573" y="792080"/>
                    </a:lnTo>
                    <a:lnTo>
                      <a:pt x="1955210" y="787528"/>
                    </a:lnTo>
                    <a:close/>
                  </a:path>
                  <a:path w="1965960" h="1374775">
                    <a:moveTo>
                      <a:pt x="1957668" y="773871"/>
                    </a:moveTo>
                    <a:lnTo>
                      <a:pt x="7738" y="773871"/>
                    </a:lnTo>
                    <a:lnTo>
                      <a:pt x="9650" y="787528"/>
                    </a:lnTo>
                    <a:lnTo>
                      <a:pt x="1955756" y="787528"/>
                    </a:lnTo>
                    <a:lnTo>
                      <a:pt x="1956075" y="782976"/>
                    </a:lnTo>
                    <a:lnTo>
                      <a:pt x="1957440" y="778424"/>
                    </a:lnTo>
                    <a:lnTo>
                      <a:pt x="1957668" y="773871"/>
                    </a:lnTo>
                    <a:close/>
                  </a:path>
                  <a:path w="1965960" h="1374775">
                    <a:moveTo>
                      <a:pt x="1958669" y="769319"/>
                    </a:moveTo>
                    <a:lnTo>
                      <a:pt x="7010" y="769319"/>
                    </a:lnTo>
                    <a:lnTo>
                      <a:pt x="7237" y="773871"/>
                    </a:lnTo>
                    <a:lnTo>
                      <a:pt x="1958214" y="773871"/>
                    </a:lnTo>
                    <a:lnTo>
                      <a:pt x="1958669" y="769319"/>
                    </a:lnTo>
                    <a:close/>
                  </a:path>
                  <a:path w="1965960" h="1374775">
                    <a:moveTo>
                      <a:pt x="1959853" y="760215"/>
                    </a:moveTo>
                    <a:lnTo>
                      <a:pt x="5371" y="760215"/>
                    </a:lnTo>
                    <a:lnTo>
                      <a:pt x="6737" y="769319"/>
                    </a:lnTo>
                    <a:lnTo>
                      <a:pt x="1958943" y="769319"/>
                    </a:lnTo>
                    <a:lnTo>
                      <a:pt x="1959853" y="760215"/>
                    </a:lnTo>
                    <a:close/>
                  </a:path>
                  <a:path w="1965960" h="1374775">
                    <a:moveTo>
                      <a:pt x="1960855" y="755663"/>
                    </a:moveTo>
                    <a:lnTo>
                      <a:pt x="4779" y="755663"/>
                    </a:lnTo>
                    <a:lnTo>
                      <a:pt x="4961" y="760215"/>
                    </a:lnTo>
                    <a:lnTo>
                      <a:pt x="1960490" y="760215"/>
                    </a:lnTo>
                    <a:lnTo>
                      <a:pt x="1960855" y="755663"/>
                    </a:lnTo>
                    <a:close/>
                  </a:path>
                  <a:path w="1965960" h="1374775">
                    <a:moveTo>
                      <a:pt x="1962311" y="742006"/>
                    </a:moveTo>
                    <a:lnTo>
                      <a:pt x="3095" y="742006"/>
                    </a:lnTo>
                    <a:lnTo>
                      <a:pt x="4552" y="755663"/>
                    </a:lnTo>
                    <a:lnTo>
                      <a:pt x="1961082" y="755663"/>
                    </a:lnTo>
                    <a:lnTo>
                      <a:pt x="1962175" y="746558"/>
                    </a:lnTo>
                    <a:lnTo>
                      <a:pt x="1962311" y="742006"/>
                    </a:lnTo>
                    <a:close/>
                  </a:path>
                  <a:path w="1965960" h="1374775">
                    <a:moveTo>
                      <a:pt x="1963722" y="728350"/>
                    </a:moveTo>
                    <a:lnTo>
                      <a:pt x="1684" y="728350"/>
                    </a:lnTo>
                    <a:lnTo>
                      <a:pt x="2776" y="742006"/>
                    </a:lnTo>
                    <a:lnTo>
                      <a:pt x="1962630" y="742006"/>
                    </a:lnTo>
                    <a:lnTo>
                      <a:pt x="1962812" y="737454"/>
                    </a:lnTo>
                    <a:lnTo>
                      <a:pt x="1963631" y="732902"/>
                    </a:lnTo>
                    <a:lnTo>
                      <a:pt x="1963722" y="728350"/>
                    </a:lnTo>
                    <a:close/>
                  </a:path>
                  <a:path w="1965960" h="1374775">
                    <a:moveTo>
                      <a:pt x="1964178" y="723797"/>
                    </a:moveTo>
                    <a:lnTo>
                      <a:pt x="1365" y="723797"/>
                    </a:lnTo>
                    <a:lnTo>
                      <a:pt x="1456" y="728350"/>
                    </a:lnTo>
                    <a:lnTo>
                      <a:pt x="1963996" y="728350"/>
                    </a:lnTo>
                    <a:lnTo>
                      <a:pt x="1964178" y="723797"/>
                    </a:lnTo>
                    <a:close/>
                  </a:path>
                  <a:path w="1965960" h="1374775">
                    <a:moveTo>
                      <a:pt x="1964633" y="714693"/>
                    </a:moveTo>
                    <a:lnTo>
                      <a:pt x="682" y="714693"/>
                    </a:lnTo>
                    <a:lnTo>
                      <a:pt x="1229" y="723797"/>
                    </a:lnTo>
                    <a:lnTo>
                      <a:pt x="1964314" y="723797"/>
                    </a:lnTo>
                    <a:lnTo>
                      <a:pt x="1964587" y="719245"/>
                    </a:lnTo>
                    <a:lnTo>
                      <a:pt x="1964633" y="714693"/>
                    </a:lnTo>
                    <a:close/>
                  </a:path>
                  <a:path w="1965960" h="1374775">
                    <a:moveTo>
                      <a:pt x="1964860" y="710141"/>
                    </a:moveTo>
                    <a:lnTo>
                      <a:pt x="546" y="710141"/>
                    </a:lnTo>
                    <a:lnTo>
                      <a:pt x="637" y="714693"/>
                    </a:lnTo>
                    <a:lnTo>
                      <a:pt x="1964815" y="714693"/>
                    </a:lnTo>
                    <a:lnTo>
                      <a:pt x="1964860" y="710141"/>
                    </a:lnTo>
                    <a:close/>
                  </a:path>
                  <a:path w="1965960" h="1374775">
                    <a:moveTo>
                      <a:pt x="1965361" y="696484"/>
                    </a:moveTo>
                    <a:lnTo>
                      <a:pt x="91" y="696484"/>
                    </a:lnTo>
                    <a:lnTo>
                      <a:pt x="91" y="701036"/>
                    </a:lnTo>
                    <a:lnTo>
                      <a:pt x="409" y="710141"/>
                    </a:lnTo>
                    <a:lnTo>
                      <a:pt x="1964997" y="710141"/>
                    </a:lnTo>
                    <a:lnTo>
                      <a:pt x="1965088" y="705589"/>
                    </a:lnTo>
                    <a:lnTo>
                      <a:pt x="1965316" y="701036"/>
                    </a:lnTo>
                    <a:lnTo>
                      <a:pt x="1965361" y="696484"/>
                    </a:lnTo>
                    <a:close/>
                  </a:path>
                  <a:path w="1965960" h="1374775">
                    <a:moveTo>
                      <a:pt x="1965407" y="682828"/>
                    </a:moveTo>
                    <a:lnTo>
                      <a:pt x="0" y="682828"/>
                    </a:lnTo>
                    <a:lnTo>
                      <a:pt x="45" y="696484"/>
                    </a:lnTo>
                    <a:lnTo>
                      <a:pt x="1965407" y="696484"/>
                    </a:lnTo>
                    <a:lnTo>
                      <a:pt x="1965452" y="691932"/>
                    </a:lnTo>
                    <a:lnTo>
                      <a:pt x="1965407" y="687380"/>
                    </a:lnTo>
                    <a:lnTo>
                      <a:pt x="1965407" y="682828"/>
                    </a:lnTo>
                    <a:close/>
                  </a:path>
                  <a:path w="1965960" h="1374775">
                    <a:moveTo>
                      <a:pt x="1965088" y="669171"/>
                    </a:moveTo>
                    <a:lnTo>
                      <a:pt x="409" y="669171"/>
                    </a:lnTo>
                    <a:lnTo>
                      <a:pt x="91" y="678276"/>
                    </a:lnTo>
                    <a:lnTo>
                      <a:pt x="45" y="682828"/>
                    </a:lnTo>
                    <a:lnTo>
                      <a:pt x="1965361" y="682828"/>
                    </a:lnTo>
                    <a:lnTo>
                      <a:pt x="1965316" y="678276"/>
                    </a:lnTo>
                    <a:lnTo>
                      <a:pt x="1965088" y="669171"/>
                    </a:lnTo>
                    <a:close/>
                  </a:path>
                  <a:path w="1965960" h="1374775">
                    <a:moveTo>
                      <a:pt x="1964860" y="664619"/>
                    </a:moveTo>
                    <a:lnTo>
                      <a:pt x="546" y="664619"/>
                    </a:lnTo>
                    <a:lnTo>
                      <a:pt x="500" y="669171"/>
                    </a:lnTo>
                    <a:lnTo>
                      <a:pt x="1964952" y="669171"/>
                    </a:lnTo>
                    <a:lnTo>
                      <a:pt x="1964860" y="664619"/>
                    </a:lnTo>
                    <a:close/>
                  </a:path>
                  <a:path w="1965960" h="1374775">
                    <a:moveTo>
                      <a:pt x="1963996" y="650962"/>
                    </a:moveTo>
                    <a:lnTo>
                      <a:pt x="1365" y="650962"/>
                    </a:lnTo>
                    <a:lnTo>
                      <a:pt x="1229" y="655515"/>
                    </a:lnTo>
                    <a:lnTo>
                      <a:pt x="682" y="664619"/>
                    </a:lnTo>
                    <a:lnTo>
                      <a:pt x="1964815" y="664619"/>
                    </a:lnTo>
                    <a:lnTo>
                      <a:pt x="1964633" y="660067"/>
                    </a:lnTo>
                    <a:lnTo>
                      <a:pt x="1964314" y="655515"/>
                    </a:lnTo>
                    <a:lnTo>
                      <a:pt x="1964178" y="655515"/>
                    </a:lnTo>
                    <a:lnTo>
                      <a:pt x="1963996" y="650962"/>
                    </a:lnTo>
                    <a:close/>
                  </a:path>
                  <a:path w="1965960" h="1374775">
                    <a:moveTo>
                      <a:pt x="1962812" y="637306"/>
                    </a:moveTo>
                    <a:lnTo>
                      <a:pt x="2776" y="637306"/>
                    </a:lnTo>
                    <a:lnTo>
                      <a:pt x="1684" y="650962"/>
                    </a:lnTo>
                    <a:lnTo>
                      <a:pt x="1963722" y="650962"/>
                    </a:lnTo>
                    <a:lnTo>
                      <a:pt x="1963631" y="646410"/>
                    </a:lnTo>
                    <a:lnTo>
                      <a:pt x="1962812" y="637306"/>
                    </a:lnTo>
                    <a:close/>
                  </a:path>
                  <a:path w="1965960" h="1374775">
                    <a:moveTo>
                      <a:pt x="1961082" y="623649"/>
                    </a:moveTo>
                    <a:lnTo>
                      <a:pt x="4552" y="623649"/>
                    </a:lnTo>
                    <a:lnTo>
                      <a:pt x="3095" y="632754"/>
                    </a:lnTo>
                    <a:lnTo>
                      <a:pt x="2958" y="637306"/>
                    </a:lnTo>
                    <a:lnTo>
                      <a:pt x="1962493" y="637306"/>
                    </a:lnTo>
                    <a:lnTo>
                      <a:pt x="1962311" y="632754"/>
                    </a:lnTo>
                    <a:lnTo>
                      <a:pt x="1962175" y="632754"/>
                    </a:lnTo>
                    <a:lnTo>
                      <a:pt x="1961082" y="623649"/>
                    </a:lnTo>
                    <a:close/>
                  </a:path>
                  <a:path w="1965960" h="1374775">
                    <a:moveTo>
                      <a:pt x="1960490" y="619097"/>
                    </a:moveTo>
                    <a:lnTo>
                      <a:pt x="4961" y="619097"/>
                    </a:lnTo>
                    <a:lnTo>
                      <a:pt x="4779" y="623649"/>
                    </a:lnTo>
                    <a:lnTo>
                      <a:pt x="1960855" y="623649"/>
                    </a:lnTo>
                    <a:lnTo>
                      <a:pt x="1960490" y="619097"/>
                    </a:lnTo>
                    <a:close/>
                  </a:path>
                  <a:path w="1965960" h="1374775">
                    <a:moveTo>
                      <a:pt x="1957668" y="600888"/>
                    </a:moveTo>
                    <a:lnTo>
                      <a:pt x="7738" y="600888"/>
                    </a:lnTo>
                    <a:lnTo>
                      <a:pt x="7511" y="605441"/>
                    </a:lnTo>
                    <a:lnTo>
                      <a:pt x="7010" y="605441"/>
                    </a:lnTo>
                    <a:lnTo>
                      <a:pt x="6737" y="609993"/>
                    </a:lnTo>
                    <a:lnTo>
                      <a:pt x="5371" y="619097"/>
                    </a:lnTo>
                    <a:lnTo>
                      <a:pt x="1960035" y="619097"/>
                    </a:lnTo>
                    <a:lnTo>
                      <a:pt x="1959853" y="614545"/>
                    </a:lnTo>
                    <a:lnTo>
                      <a:pt x="1958943" y="609993"/>
                    </a:lnTo>
                    <a:lnTo>
                      <a:pt x="1958669" y="609993"/>
                    </a:lnTo>
                    <a:lnTo>
                      <a:pt x="1958214" y="605441"/>
                    </a:lnTo>
                    <a:lnTo>
                      <a:pt x="1957668" y="600888"/>
                    </a:lnTo>
                    <a:close/>
                  </a:path>
                  <a:path w="1965960" h="1374775">
                    <a:moveTo>
                      <a:pt x="1955756" y="591784"/>
                    </a:moveTo>
                    <a:lnTo>
                      <a:pt x="9650" y="591784"/>
                    </a:lnTo>
                    <a:lnTo>
                      <a:pt x="8011" y="600888"/>
                    </a:lnTo>
                    <a:lnTo>
                      <a:pt x="1957440" y="600888"/>
                    </a:lnTo>
                    <a:lnTo>
                      <a:pt x="1956348" y="596336"/>
                    </a:lnTo>
                    <a:lnTo>
                      <a:pt x="1956075" y="596336"/>
                    </a:lnTo>
                    <a:lnTo>
                      <a:pt x="1955756" y="591784"/>
                    </a:lnTo>
                    <a:close/>
                  </a:path>
                  <a:path w="1965960" h="1374775">
                    <a:moveTo>
                      <a:pt x="1954573" y="587232"/>
                    </a:moveTo>
                    <a:lnTo>
                      <a:pt x="10561" y="587232"/>
                    </a:lnTo>
                    <a:lnTo>
                      <a:pt x="10242" y="591784"/>
                    </a:lnTo>
                    <a:lnTo>
                      <a:pt x="1955210" y="591784"/>
                    </a:lnTo>
                    <a:lnTo>
                      <a:pt x="1954573" y="587232"/>
                    </a:lnTo>
                    <a:close/>
                  </a:path>
                  <a:path w="1965960" h="1374775">
                    <a:moveTo>
                      <a:pt x="1953025" y="578127"/>
                    </a:moveTo>
                    <a:lnTo>
                      <a:pt x="12427" y="578127"/>
                    </a:lnTo>
                    <a:lnTo>
                      <a:pt x="12108" y="582680"/>
                    </a:lnTo>
                    <a:lnTo>
                      <a:pt x="11152" y="587232"/>
                    </a:lnTo>
                    <a:lnTo>
                      <a:pt x="1954299" y="587232"/>
                    </a:lnTo>
                    <a:lnTo>
                      <a:pt x="1953343" y="582680"/>
                    </a:lnTo>
                    <a:lnTo>
                      <a:pt x="1953025" y="578127"/>
                    </a:lnTo>
                    <a:close/>
                  </a:path>
                  <a:path w="1965960" h="1374775">
                    <a:moveTo>
                      <a:pt x="1952023" y="573575"/>
                    </a:moveTo>
                    <a:lnTo>
                      <a:pt x="13428" y="573575"/>
                    </a:lnTo>
                    <a:lnTo>
                      <a:pt x="13064" y="578127"/>
                    </a:lnTo>
                    <a:lnTo>
                      <a:pt x="1952661" y="578127"/>
                    </a:lnTo>
                    <a:lnTo>
                      <a:pt x="1952023" y="573575"/>
                    </a:lnTo>
                    <a:close/>
                  </a:path>
                  <a:path w="1965960" h="1374775">
                    <a:moveTo>
                      <a:pt x="1946834" y="555366"/>
                    </a:moveTo>
                    <a:lnTo>
                      <a:pt x="18208" y="555366"/>
                    </a:lnTo>
                    <a:lnTo>
                      <a:pt x="17389" y="559919"/>
                    </a:lnTo>
                    <a:lnTo>
                      <a:pt x="16661" y="564471"/>
                    </a:lnTo>
                    <a:lnTo>
                      <a:pt x="15887" y="564471"/>
                    </a:lnTo>
                    <a:lnTo>
                      <a:pt x="15522" y="569023"/>
                    </a:lnTo>
                    <a:lnTo>
                      <a:pt x="14794" y="569023"/>
                    </a:lnTo>
                    <a:lnTo>
                      <a:pt x="14475" y="573575"/>
                    </a:lnTo>
                    <a:lnTo>
                      <a:pt x="1951340" y="573575"/>
                    </a:lnTo>
                    <a:lnTo>
                      <a:pt x="1949884" y="569023"/>
                    </a:lnTo>
                    <a:lnTo>
                      <a:pt x="1949520" y="564471"/>
                    </a:lnTo>
                    <a:lnTo>
                      <a:pt x="1948427" y="559919"/>
                    </a:lnTo>
                    <a:lnTo>
                      <a:pt x="1947653" y="559919"/>
                    </a:lnTo>
                    <a:lnTo>
                      <a:pt x="1946834" y="555366"/>
                    </a:lnTo>
                    <a:close/>
                  </a:path>
                  <a:path w="1965960" h="1374775">
                    <a:moveTo>
                      <a:pt x="1943966" y="546262"/>
                    </a:moveTo>
                    <a:lnTo>
                      <a:pt x="21031" y="546262"/>
                    </a:lnTo>
                    <a:lnTo>
                      <a:pt x="18572" y="555366"/>
                    </a:lnTo>
                    <a:lnTo>
                      <a:pt x="1946470" y="555366"/>
                    </a:lnTo>
                    <a:lnTo>
                      <a:pt x="1945241" y="550814"/>
                    </a:lnTo>
                    <a:lnTo>
                      <a:pt x="1944785" y="550814"/>
                    </a:lnTo>
                    <a:lnTo>
                      <a:pt x="1943966" y="546262"/>
                    </a:lnTo>
                    <a:close/>
                  </a:path>
                  <a:path w="1965960" h="1374775">
                    <a:moveTo>
                      <a:pt x="1943101" y="541710"/>
                    </a:moveTo>
                    <a:lnTo>
                      <a:pt x="22351" y="541710"/>
                    </a:lnTo>
                    <a:lnTo>
                      <a:pt x="21896" y="546262"/>
                    </a:lnTo>
                    <a:lnTo>
                      <a:pt x="1943511" y="546262"/>
                    </a:lnTo>
                    <a:lnTo>
                      <a:pt x="1943101" y="541710"/>
                    </a:lnTo>
                    <a:close/>
                  </a:path>
                  <a:path w="1965960" h="1374775">
                    <a:moveTo>
                      <a:pt x="1940415" y="532606"/>
                    </a:moveTo>
                    <a:lnTo>
                      <a:pt x="25037" y="532606"/>
                    </a:lnTo>
                    <a:lnTo>
                      <a:pt x="24581" y="537158"/>
                    </a:lnTo>
                    <a:lnTo>
                      <a:pt x="22760" y="541710"/>
                    </a:lnTo>
                    <a:lnTo>
                      <a:pt x="1942236" y="541710"/>
                    </a:lnTo>
                    <a:lnTo>
                      <a:pt x="1940870" y="537158"/>
                    </a:lnTo>
                    <a:lnTo>
                      <a:pt x="1940415" y="532606"/>
                    </a:lnTo>
                    <a:close/>
                  </a:path>
                  <a:path w="1965960" h="1374775">
                    <a:moveTo>
                      <a:pt x="1938503" y="528053"/>
                    </a:moveTo>
                    <a:lnTo>
                      <a:pt x="26903" y="528053"/>
                    </a:lnTo>
                    <a:lnTo>
                      <a:pt x="26448" y="532606"/>
                    </a:lnTo>
                    <a:lnTo>
                      <a:pt x="1939004" y="532606"/>
                    </a:lnTo>
                    <a:lnTo>
                      <a:pt x="1938503" y="528053"/>
                    </a:lnTo>
                    <a:close/>
                  </a:path>
                  <a:path w="1965960" h="1374775">
                    <a:moveTo>
                      <a:pt x="1937047" y="523501"/>
                    </a:moveTo>
                    <a:lnTo>
                      <a:pt x="28860" y="523501"/>
                    </a:lnTo>
                    <a:lnTo>
                      <a:pt x="27859" y="528053"/>
                    </a:lnTo>
                    <a:lnTo>
                      <a:pt x="1938048" y="528053"/>
                    </a:lnTo>
                    <a:lnTo>
                      <a:pt x="1937047" y="523501"/>
                    </a:lnTo>
                    <a:close/>
                  </a:path>
                  <a:path w="1965960" h="1374775">
                    <a:moveTo>
                      <a:pt x="1935089" y="518949"/>
                    </a:moveTo>
                    <a:lnTo>
                      <a:pt x="30363" y="518949"/>
                    </a:lnTo>
                    <a:lnTo>
                      <a:pt x="29361" y="523501"/>
                    </a:lnTo>
                    <a:lnTo>
                      <a:pt x="1936091" y="523501"/>
                    </a:lnTo>
                    <a:lnTo>
                      <a:pt x="1935089" y="518949"/>
                    </a:lnTo>
                    <a:close/>
                  </a:path>
                  <a:path w="1965960" h="1374775">
                    <a:moveTo>
                      <a:pt x="1933541" y="514397"/>
                    </a:moveTo>
                    <a:lnTo>
                      <a:pt x="31410" y="514397"/>
                    </a:lnTo>
                    <a:lnTo>
                      <a:pt x="30863" y="518949"/>
                    </a:lnTo>
                    <a:lnTo>
                      <a:pt x="1934543" y="518949"/>
                    </a:lnTo>
                    <a:lnTo>
                      <a:pt x="1933541" y="514397"/>
                    </a:lnTo>
                    <a:close/>
                  </a:path>
                  <a:path w="1965960" h="1374775">
                    <a:moveTo>
                      <a:pt x="1931948" y="509845"/>
                    </a:moveTo>
                    <a:lnTo>
                      <a:pt x="33504" y="509845"/>
                    </a:lnTo>
                    <a:lnTo>
                      <a:pt x="32411" y="514397"/>
                    </a:lnTo>
                    <a:lnTo>
                      <a:pt x="1932494" y="514397"/>
                    </a:lnTo>
                    <a:lnTo>
                      <a:pt x="1931948" y="509845"/>
                    </a:lnTo>
                    <a:close/>
                  </a:path>
                  <a:path w="1965960" h="1374775">
                    <a:moveTo>
                      <a:pt x="1930309" y="505292"/>
                    </a:moveTo>
                    <a:lnTo>
                      <a:pt x="35097" y="505292"/>
                    </a:lnTo>
                    <a:lnTo>
                      <a:pt x="34551" y="509845"/>
                    </a:lnTo>
                    <a:lnTo>
                      <a:pt x="1930856" y="509845"/>
                    </a:lnTo>
                    <a:lnTo>
                      <a:pt x="1930309" y="505292"/>
                    </a:lnTo>
                    <a:close/>
                  </a:path>
                  <a:path w="1965960" h="1374775">
                    <a:moveTo>
                      <a:pt x="1928671" y="500740"/>
                    </a:moveTo>
                    <a:lnTo>
                      <a:pt x="36781" y="500740"/>
                    </a:lnTo>
                    <a:lnTo>
                      <a:pt x="36189" y="505292"/>
                    </a:lnTo>
                    <a:lnTo>
                      <a:pt x="1929217" y="505292"/>
                    </a:lnTo>
                    <a:lnTo>
                      <a:pt x="1928671" y="500740"/>
                    </a:lnTo>
                    <a:close/>
                  </a:path>
                  <a:path w="1965960" h="1374775">
                    <a:moveTo>
                      <a:pt x="1926394" y="496188"/>
                    </a:moveTo>
                    <a:lnTo>
                      <a:pt x="39012" y="496188"/>
                    </a:lnTo>
                    <a:lnTo>
                      <a:pt x="38465" y="500740"/>
                    </a:lnTo>
                    <a:lnTo>
                      <a:pt x="1926986" y="500740"/>
                    </a:lnTo>
                    <a:lnTo>
                      <a:pt x="1926394" y="496188"/>
                    </a:lnTo>
                    <a:close/>
                  </a:path>
                  <a:path w="1965960" h="1374775">
                    <a:moveTo>
                      <a:pt x="1924665" y="491636"/>
                    </a:moveTo>
                    <a:lnTo>
                      <a:pt x="40742" y="491636"/>
                    </a:lnTo>
                    <a:lnTo>
                      <a:pt x="40195" y="496188"/>
                    </a:lnTo>
                    <a:lnTo>
                      <a:pt x="1925848" y="496188"/>
                    </a:lnTo>
                    <a:lnTo>
                      <a:pt x="1924665" y="491636"/>
                    </a:lnTo>
                    <a:close/>
                  </a:path>
                  <a:path w="1965960" h="1374775">
                    <a:moveTo>
                      <a:pt x="1922889" y="487084"/>
                    </a:moveTo>
                    <a:lnTo>
                      <a:pt x="42562" y="487084"/>
                    </a:lnTo>
                    <a:lnTo>
                      <a:pt x="41925" y="491636"/>
                    </a:lnTo>
                    <a:lnTo>
                      <a:pt x="1924073" y="491636"/>
                    </a:lnTo>
                    <a:lnTo>
                      <a:pt x="1922889" y="487084"/>
                    </a:lnTo>
                    <a:close/>
                  </a:path>
                  <a:path w="1965960" h="1374775">
                    <a:moveTo>
                      <a:pt x="1921068" y="482531"/>
                    </a:moveTo>
                    <a:lnTo>
                      <a:pt x="44338" y="482531"/>
                    </a:lnTo>
                    <a:lnTo>
                      <a:pt x="43154" y="487084"/>
                    </a:lnTo>
                    <a:lnTo>
                      <a:pt x="1921706" y="487084"/>
                    </a:lnTo>
                    <a:lnTo>
                      <a:pt x="1921068" y="482531"/>
                    </a:lnTo>
                    <a:close/>
                  </a:path>
                  <a:path w="1965960" h="1374775">
                    <a:moveTo>
                      <a:pt x="1914741" y="468875"/>
                    </a:moveTo>
                    <a:lnTo>
                      <a:pt x="50665" y="468875"/>
                    </a:lnTo>
                    <a:lnTo>
                      <a:pt x="45567" y="482531"/>
                    </a:lnTo>
                    <a:lnTo>
                      <a:pt x="1919248" y="482531"/>
                    </a:lnTo>
                    <a:lnTo>
                      <a:pt x="1915424" y="473427"/>
                    </a:lnTo>
                    <a:lnTo>
                      <a:pt x="1914741" y="468875"/>
                    </a:lnTo>
                    <a:close/>
                  </a:path>
                  <a:path w="1965960" h="1374775">
                    <a:moveTo>
                      <a:pt x="1908049" y="455218"/>
                    </a:moveTo>
                    <a:lnTo>
                      <a:pt x="57403" y="455218"/>
                    </a:lnTo>
                    <a:lnTo>
                      <a:pt x="56720" y="459771"/>
                    </a:lnTo>
                    <a:lnTo>
                      <a:pt x="53306" y="464323"/>
                    </a:lnTo>
                    <a:lnTo>
                      <a:pt x="52668" y="468875"/>
                    </a:lnTo>
                    <a:lnTo>
                      <a:pt x="1913466" y="468875"/>
                    </a:lnTo>
                    <a:lnTo>
                      <a:pt x="1912101" y="464323"/>
                    </a:lnTo>
                    <a:lnTo>
                      <a:pt x="1911463" y="464323"/>
                    </a:lnTo>
                    <a:lnTo>
                      <a:pt x="1908732" y="459771"/>
                    </a:lnTo>
                    <a:lnTo>
                      <a:pt x="1908049" y="455218"/>
                    </a:lnTo>
                    <a:close/>
                  </a:path>
                  <a:path w="1965960" h="1374775">
                    <a:moveTo>
                      <a:pt x="1905227" y="450666"/>
                    </a:moveTo>
                    <a:lnTo>
                      <a:pt x="60225" y="450666"/>
                    </a:lnTo>
                    <a:lnTo>
                      <a:pt x="59497" y="455218"/>
                    </a:lnTo>
                    <a:lnTo>
                      <a:pt x="1905955" y="455218"/>
                    </a:lnTo>
                    <a:lnTo>
                      <a:pt x="1905227" y="450666"/>
                    </a:lnTo>
                    <a:close/>
                  </a:path>
                  <a:path w="1965960" h="1374775">
                    <a:moveTo>
                      <a:pt x="1903087" y="446114"/>
                    </a:moveTo>
                    <a:lnTo>
                      <a:pt x="62364" y="446114"/>
                    </a:lnTo>
                    <a:lnTo>
                      <a:pt x="61636" y="450666"/>
                    </a:lnTo>
                    <a:lnTo>
                      <a:pt x="1903816" y="450666"/>
                    </a:lnTo>
                    <a:lnTo>
                      <a:pt x="1903087" y="446114"/>
                    </a:lnTo>
                    <a:close/>
                  </a:path>
                  <a:path w="1965960" h="1374775">
                    <a:moveTo>
                      <a:pt x="1900174" y="441562"/>
                    </a:moveTo>
                    <a:lnTo>
                      <a:pt x="65278" y="441562"/>
                    </a:lnTo>
                    <a:lnTo>
                      <a:pt x="64550" y="446114"/>
                    </a:lnTo>
                    <a:lnTo>
                      <a:pt x="1900902" y="446114"/>
                    </a:lnTo>
                    <a:lnTo>
                      <a:pt x="1900174" y="441562"/>
                    </a:lnTo>
                    <a:close/>
                  </a:path>
                  <a:path w="1965960" h="1374775">
                    <a:moveTo>
                      <a:pt x="1897943" y="437010"/>
                    </a:moveTo>
                    <a:lnTo>
                      <a:pt x="67508" y="437010"/>
                    </a:lnTo>
                    <a:lnTo>
                      <a:pt x="66780" y="441562"/>
                    </a:lnTo>
                    <a:lnTo>
                      <a:pt x="1898672" y="441562"/>
                    </a:lnTo>
                    <a:lnTo>
                      <a:pt x="1897943" y="437010"/>
                    </a:lnTo>
                    <a:close/>
                  </a:path>
                  <a:path w="1965960" h="1374775">
                    <a:moveTo>
                      <a:pt x="1895667" y="432457"/>
                    </a:moveTo>
                    <a:lnTo>
                      <a:pt x="69785" y="432457"/>
                    </a:lnTo>
                    <a:lnTo>
                      <a:pt x="69011" y="437010"/>
                    </a:lnTo>
                    <a:lnTo>
                      <a:pt x="1896441" y="437010"/>
                    </a:lnTo>
                    <a:lnTo>
                      <a:pt x="1895667" y="432457"/>
                    </a:lnTo>
                    <a:close/>
                  </a:path>
                  <a:path w="1965960" h="1374775">
                    <a:moveTo>
                      <a:pt x="1891798" y="427905"/>
                    </a:moveTo>
                    <a:lnTo>
                      <a:pt x="73608" y="427905"/>
                    </a:lnTo>
                    <a:lnTo>
                      <a:pt x="72061" y="432457"/>
                    </a:lnTo>
                    <a:lnTo>
                      <a:pt x="1893346" y="432457"/>
                    </a:lnTo>
                    <a:lnTo>
                      <a:pt x="1891798" y="427905"/>
                    </a:lnTo>
                    <a:close/>
                  </a:path>
                  <a:path w="1965960" h="1374775">
                    <a:moveTo>
                      <a:pt x="1890250" y="423353"/>
                    </a:moveTo>
                    <a:lnTo>
                      <a:pt x="75976" y="423353"/>
                    </a:lnTo>
                    <a:lnTo>
                      <a:pt x="74428" y="427905"/>
                    </a:lnTo>
                    <a:lnTo>
                      <a:pt x="1891024" y="427905"/>
                    </a:lnTo>
                    <a:lnTo>
                      <a:pt x="1890250" y="423353"/>
                    </a:lnTo>
                    <a:close/>
                  </a:path>
                  <a:path w="1965960" h="1374775">
                    <a:moveTo>
                      <a:pt x="1881328" y="409696"/>
                    </a:moveTo>
                    <a:lnTo>
                      <a:pt x="84943" y="409696"/>
                    </a:lnTo>
                    <a:lnTo>
                      <a:pt x="78388" y="418801"/>
                    </a:lnTo>
                    <a:lnTo>
                      <a:pt x="77569" y="423353"/>
                    </a:lnTo>
                    <a:lnTo>
                      <a:pt x="1887837" y="423353"/>
                    </a:lnTo>
                    <a:lnTo>
                      <a:pt x="1887064" y="418801"/>
                    </a:lnTo>
                    <a:lnTo>
                      <a:pt x="1881328" y="409696"/>
                    </a:lnTo>
                    <a:close/>
                  </a:path>
                  <a:path w="1965960" h="1374775">
                    <a:moveTo>
                      <a:pt x="1878779" y="405144"/>
                    </a:moveTo>
                    <a:lnTo>
                      <a:pt x="86628" y="405144"/>
                    </a:lnTo>
                    <a:lnTo>
                      <a:pt x="85808" y="409696"/>
                    </a:lnTo>
                    <a:lnTo>
                      <a:pt x="1879644" y="409696"/>
                    </a:lnTo>
                    <a:lnTo>
                      <a:pt x="1878779" y="405144"/>
                    </a:lnTo>
                    <a:close/>
                  </a:path>
                  <a:path w="1965960" h="1374775">
                    <a:moveTo>
                      <a:pt x="1875364" y="400592"/>
                    </a:moveTo>
                    <a:lnTo>
                      <a:pt x="89177" y="400592"/>
                    </a:lnTo>
                    <a:lnTo>
                      <a:pt x="88357" y="405144"/>
                    </a:lnTo>
                    <a:lnTo>
                      <a:pt x="1877959" y="405144"/>
                    </a:lnTo>
                    <a:lnTo>
                      <a:pt x="1875364" y="400592"/>
                    </a:lnTo>
                    <a:close/>
                  </a:path>
                  <a:path w="1965960" h="1374775">
                    <a:moveTo>
                      <a:pt x="1871905" y="396040"/>
                    </a:moveTo>
                    <a:lnTo>
                      <a:pt x="92637" y="396040"/>
                    </a:lnTo>
                    <a:lnTo>
                      <a:pt x="90907" y="400592"/>
                    </a:lnTo>
                    <a:lnTo>
                      <a:pt x="1874500" y="400592"/>
                    </a:lnTo>
                    <a:lnTo>
                      <a:pt x="1871905" y="396040"/>
                    </a:lnTo>
                    <a:close/>
                  </a:path>
                  <a:path w="1965960" h="1374775">
                    <a:moveTo>
                      <a:pt x="1870129" y="391488"/>
                    </a:moveTo>
                    <a:lnTo>
                      <a:pt x="95277" y="391488"/>
                    </a:lnTo>
                    <a:lnTo>
                      <a:pt x="94412" y="396040"/>
                    </a:lnTo>
                    <a:lnTo>
                      <a:pt x="1871040" y="396040"/>
                    </a:lnTo>
                    <a:lnTo>
                      <a:pt x="1870129" y="391488"/>
                    </a:lnTo>
                    <a:close/>
                  </a:path>
                  <a:path w="1965960" h="1374775">
                    <a:moveTo>
                      <a:pt x="1866579" y="386935"/>
                    </a:moveTo>
                    <a:lnTo>
                      <a:pt x="98873" y="386935"/>
                    </a:lnTo>
                    <a:lnTo>
                      <a:pt x="97963" y="391488"/>
                    </a:lnTo>
                    <a:lnTo>
                      <a:pt x="1867489" y="391488"/>
                    </a:lnTo>
                    <a:lnTo>
                      <a:pt x="1866579" y="386935"/>
                    </a:lnTo>
                    <a:close/>
                  </a:path>
                  <a:path w="1965960" h="1374775">
                    <a:moveTo>
                      <a:pt x="1862937" y="382383"/>
                    </a:moveTo>
                    <a:lnTo>
                      <a:pt x="102469" y="382383"/>
                    </a:lnTo>
                    <a:lnTo>
                      <a:pt x="100648" y="386935"/>
                    </a:lnTo>
                    <a:lnTo>
                      <a:pt x="1864758" y="386935"/>
                    </a:lnTo>
                    <a:lnTo>
                      <a:pt x="1862937" y="382383"/>
                    </a:lnTo>
                    <a:close/>
                  </a:path>
                  <a:path w="1965960" h="1374775">
                    <a:moveTo>
                      <a:pt x="1860206" y="377831"/>
                    </a:moveTo>
                    <a:lnTo>
                      <a:pt x="105246" y="377831"/>
                    </a:lnTo>
                    <a:lnTo>
                      <a:pt x="103425" y="382383"/>
                    </a:lnTo>
                    <a:lnTo>
                      <a:pt x="1862027" y="382383"/>
                    </a:lnTo>
                    <a:lnTo>
                      <a:pt x="1860206" y="377831"/>
                    </a:lnTo>
                    <a:close/>
                  </a:path>
                  <a:path w="1965960" h="1374775">
                    <a:moveTo>
                      <a:pt x="1856427" y="373279"/>
                    </a:moveTo>
                    <a:lnTo>
                      <a:pt x="108068" y="373279"/>
                    </a:lnTo>
                    <a:lnTo>
                      <a:pt x="107112" y="377831"/>
                    </a:lnTo>
                    <a:lnTo>
                      <a:pt x="1858339" y="377831"/>
                    </a:lnTo>
                    <a:lnTo>
                      <a:pt x="1856427" y="373279"/>
                    </a:lnTo>
                    <a:close/>
                  </a:path>
                  <a:path w="1965960" h="1374775">
                    <a:moveTo>
                      <a:pt x="1849781" y="364175"/>
                    </a:moveTo>
                    <a:lnTo>
                      <a:pt x="116627" y="364175"/>
                    </a:lnTo>
                    <a:lnTo>
                      <a:pt x="108979" y="373279"/>
                    </a:lnTo>
                    <a:lnTo>
                      <a:pt x="1855517" y="373279"/>
                    </a:lnTo>
                    <a:lnTo>
                      <a:pt x="1849781" y="364175"/>
                    </a:lnTo>
                    <a:close/>
                  </a:path>
                  <a:path w="1965960" h="1374775">
                    <a:moveTo>
                      <a:pt x="1842907" y="355070"/>
                    </a:moveTo>
                    <a:lnTo>
                      <a:pt x="123546" y="355070"/>
                    </a:lnTo>
                    <a:lnTo>
                      <a:pt x="118584" y="359622"/>
                    </a:lnTo>
                    <a:lnTo>
                      <a:pt x="117628" y="364175"/>
                    </a:lnTo>
                    <a:lnTo>
                      <a:pt x="1847824" y="364175"/>
                    </a:lnTo>
                    <a:lnTo>
                      <a:pt x="1846822" y="359622"/>
                    </a:lnTo>
                    <a:lnTo>
                      <a:pt x="1843863" y="359622"/>
                    </a:lnTo>
                    <a:lnTo>
                      <a:pt x="1842907" y="355070"/>
                    </a:lnTo>
                    <a:close/>
                  </a:path>
                  <a:path w="1965960" h="1374775">
                    <a:moveTo>
                      <a:pt x="1839903" y="350518"/>
                    </a:moveTo>
                    <a:lnTo>
                      <a:pt x="126550" y="350518"/>
                    </a:lnTo>
                    <a:lnTo>
                      <a:pt x="124547" y="355070"/>
                    </a:lnTo>
                    <a:lnTo>
                      <a:pt x="1840904" y="355070"/>
                    </a:lnTo>
                    <a:lnTo>
                      <a:pt x="1839903" y="350518"/>
                    </a:lnTo>
                    <a:close/>
                  </a:path>
                  <a:path w="1965960" h="1374775">
                    <a:moveTo>
                      <a:pt x="1835806" y="345966"/>
                    </a:moveTo>
                    <a:lnTo>
                      <a:pt x="131649" y="345966"/>
                    </a:lnTo>
                    <a:lnTo>
                      <a:pt x="128599" y="350518"/>
                    </a:lnTo>
                    <a:lnTo>
                      <a:pt x="1836853" y="350518"/>
                    </a:lnTo>
                    <a:lnTo>
                      <a:pt x="1835806" y="345966"/>
                    </a:lnTo>
                    <a:close/>
                  </a:path>
                  <a:path w="1965960" h="1374775">
                    <a:moveTo>
                      <a:pt x="1831709" y="341414"/>
                    </a:moveTo>
                    <a:lnTo>
                      <a:pt x="134744" y="341414"/>
                    </a:lnTo>
                    <a:lnTo>
                      <a:pt x="132696" y="345966"/>
                    </a:lnTo>
                    <a:lnTo>
                      <a:pt x="1833757" y="345966"/>
                    </a:lnTo>
                    <a:lnTo>
                      <a:pt x="1831709" y="341414"/>
                    </a:lnTo>
                    <a:close/>
                  </a:path>
                  <a:path w="1965960" h="1374775">
                    <a:moveTo>
                      <a:pt x="1822240" y="332309"/>
                    </a:moveTo>
                    <a:lnTo>
                      <a:pt x="141072" y="332309"/>
                    </a:lnTo>
                    <a:lnTo>
                      <a:pt x="138978" y="336861"/>
                    </a:lnTo>
                    <a:lnTo>
                      <a:pt x="136838" y="336861"/>
                    </a:lnTo>
                    <a:lnTo>
                      <a:pt x="135791" y="341414"/>
                    </a:lnTo>
                    <a:lnTo>
                      <a:pt x="1829615" y="341414"/>
                    </a:lnTo>
                    <a:lnTo>
                      <a:pt x="1828568" y="336861"/>
                    </a:lnTo>
                    <a:lnTo>
                      <a:pt x="1822240" y="332309"/>
                    </a:lnTo>
                    <a:close/>
                  </a:path>
                  <a:path w="1965960" h="1374775">
                    <a:moveTo>
                      <a:pt x="1820101" y="327757"/>
                    </a:moveTo>
                    <a:lnTo>
                      <a:pt x="146443" y="327757"/>
                    </a:lnTo>
                    <a:lnTo>
                      <a:pt x="144258" y="332309"/>
                    </a:lnTo>
                    <a:lnTo>
                      <a:pt x="1821148" y="332309"/>
                    </a:lnTo>
                    <a:lnTo>
                      <a:pt x="1820101" y="327757"/>
                    </a:lnTo>
                    <a:close/>
                  </a:path>
                  <a:path w="1965960" h="1374775">
                    <a:moveTo>
                      <a:pt x="1812453" y="318653"/>
                    </a:moveTo>
                    <a:lnTo>
                      <a:pt x="154091" y="318653"/>
                    </a:lnTo>
                    <a:lnTo>
                      <a:pt x="151860" y="323205"/>
                    </a:lnTo>
                    <a:lnTo>
                      <a:pt x="148583" y="323205"/>
                    </a:lnTo>
                    <a:lnTo>
                      <a:pt x="147536" y="327757"/>
                    </a:lnTo>
                    <a:lnTo>
                      <a:pt x="1817916" y="327757"/>
                    </a:lnTo>
                    <a:lnTo>
                      <a:pt x="1812453" y="318653"/>
                    </a:lnTo>
                    <a:close/>
                  </a:path>
                  <a:path w="1965960" h="1374775">
                    <a:moveTo>
                      <a:pt x="1800117" y="304996"/>
                    </a:moveTo>
                    <a:lnTo>
                      <a:pt x="165335" y="304996"/>
                    </a:lnTo>
                    <a:lnTo>
                      <a:pt x="163059" y="309548"/>
                    </a:lnTo>
                    <a:lnTo>
                      <a:pt x="161921" y="309548"/>
                    </a:lnTo>
                    <a:lnTo>
                      <a:pt x="160783" y="314100"/>
                    </a:lnTo>
                    <a:lnTo>
                      <a:pt x="155184" y="318653"/>
                    </a:lnTo>
                    <a:lnTo>
                      <a:pt x="1809130" y="318653"/>
                    </a:lnTo>
                    <a:lnTo>
                      <a:pt x="1807992" y="314100"/>
                    </a:lnTo>
                    <a:lnTo>
                      <a:pt x="1805761" y="314100"/>
                    </a:lnTo>
                    <a:lnTo>
                      <a:pt x="1802393" y="309548"/>
                    </a:lnTo>
                    <a:lnTo>
                      <a:pt x="1800117" y="304996"/>
                    </a:lnTo>
                    <a:close/>
                  </a:path>
                  <a:path w="1965960" h="1374775">
                    <a:moveTo>
                      <a:pt x="1795519" y="300444"/>
                    </a:moveTo>
                    <a:lnTo>
                      <a:pt x="172254" y="300444"/>
                    </a:lnTo>
                    <a:lnTo>
                      <a:pt x="168795" y="304996"/>
                    </a:lnTo>
                    <a:lnTo>
                      <a:pt x="1797795" y="304996"/>
                    </a:lnTo>
                    <a:lnTo>
                      <a:pt x="1795519" y="300444"/>
                    </a:lnTo>
                    <a:close/>
                  </a:path>
                  <a:path w="1965960" h="1374775">
                    <a:moveTo>
                      <a:pt x="1790830" y="295892"/>
                    </a:moveTo>
                    <a:lnTo>
                      <a:pt x="174576" y="295892"/>
                    </a:lnTo>
                    <a:lnTo>
                      <a:pt x="173438" y="300444"/>
                    </a:lnTo>
                    <a:lnTo>
                      <a:pt x="1793197" y="300444"/>
                    </a:lnTo>
                    <a:lnTo>
                      <a:pt x="1790830" y="295892"/>
                    </a:lnTo>
                    <a:close/>
                  </a:path>
                  <a:path w="1965960" h="1374775">
                    <a:moveTo>
                      <a:pt x="1786142" y="291340"/>
                    </a:moveTo>
                    <a:lnTo>
                      <a:pt x="179310" y="291340"/>
                    </a:lnTo>
                    <a:lnTo>
                      <a:pt x="178127" y="295892"/>
                    </a:lnTo>
                    <a:lnTo>
                      <a:pt x="1787325" y="295892"/>
                    </a:lnTo>
                    <a:lnTo>
                      <a:pt x="1786142" y="291340"/>
                    </a:lnTo>
                    <a:close/>
                  </a:path>
                  <a:path w="1965960" h="1374775">
                    <a:moveTo>
                      <a:pt x="1781362" y="286787"/>
                    </a:moveTo>
                    <a:lnTo>
                      <a:pt x="185274" y="286787"/>
                    </a:lnTo>
                    <a:lnTo>
                      <a:pt x="182861" y="291340"/>
                    </a:lnTo>
                    <a:lnTo>
                      <a:pt x="1782545" y="291340"/>
                    </a:lnTo>
                    <a:lnTo>
                      <a:pt x="1781362" y="286787"/>
                    </a:lnTo>
                    <a:close/>
                  </a:path>
                  <a:path w="1965960" h="1374775">
                    <a:moveTo>
                      <a:pt x="1776536" y="282235"/>
                    </a:moveTo>
                    <a:lnTo>
                      <a:pt x="188915" y="282235"/>
                    </a:lnTo>
                    <a:lnTo>
                      <a:pt x="187686" y="286787"/>
                    </a:lnTo>
                    <a:lnTo>
                      <a:pt x="1777766" y="286787"/>
                    </a:lnTo>
                    <a:lnTo>
                      <a:pt x="1776536" y="282235"/>
                    </a:lnTo>
                    <a:close/>
                  </a:path>
                  <a:path w="1965960" h="1374775">
                    <a:moveTo>
                      <a:pt x="1771666" y="277683"/>
                    </a:moveTo>
                    <a:lnTo>
                      <a:pt x="193786" y="277683"/>
                    </a:lnTo>
                    <a:lnTo>
                      <a:pt x="192557" y="282235"/>
                    </a:lnTo>
                    <a:lnTo>
                      <a:pt x="1772895" y="282235"/>
                    </a:lnTo>
                    <a:lnTo>
                      <a:pt x="1771666" y="277683"/>
                    </a:lnTo>
                    <a:close/>
                  </a:path>
                  <a:path w="1965960" h="1374775">
                    <a:moveTo>
                      <a:pt x="1764246" y="273131"/>
                    </a:moveTo>
                    <a:lnTo>
                      <a:pt x="198703" y="273131"/>
                    </a:lnTo>
                    <a:lnTo>
                      <a:pt x="197473" y="277683"/>
                    </a:lnTo>
                    <a:lnTo>
                      <a:pt x="1770437" y="277683"/>
                    </a:lnTo>
                    <a:lnTo>
                      <a:pt x="1764246" y="273131"/>
                    </a:lnTo>
                    <a:close/>
                  </a:path>
                  <a:path w="1965960" h="1374775">
                    <a:moveTo>
                      <a:pt x="1761742" y="268579"/>
                    </a:moveTo>
                    <a:lnTo>
                      <a:pt x="203710" y="268579"/>
                    </a:lnTo>
                    <a:lnTo>
                      <a:pt x="202435" y="273131"/>
                    </a:lnTo>
                    <a:lnTo>
                      <a:pt x="1762971" y="273131"/>
                    </a:lnTo>
                    <a:lnTo>
                      <a:pt x="1761742" y="268579"/>
                    </a:lnTo>
                    <a:close/>
                  </a:path>
                  <a:path w="1965960" h="1374775">
                    <a:moveTo>
                      <a:pt x="1751590" y="259474"/>
                    </a:moveTo>
                    <a:lnTo>
                      <a:pt x="213861" y="259474"/>
                    </a:lnTo>
                    <a:lnTo>
                      <a:pt x="204939" y="268579"/>
                    </a:lnTo>
                    <a:lnTo>
                      <a:pt x="1759238" y="268579"/>
                    </a:lnTo>
                    <a:lnTo>
                      <a:pt x="1751590" y="259474"/>
                    </a:lnTo>
                    <a:close/>
                  </a:path>
                  <a:path w="1965960" h="1374775">
                    <a:moveTo>
                      <a:pt x="1741211" y="250370"/>
                    </a:moveTo>
                    <a:lnTo>
                      <a:pt x="225515" y="250370"/>
                    </a:lnTo>
                    <a:lnTo>
                      <a:pt x="221600" y="254922"/>
                    </a:lnTo>
                    <a:lnTo>
                      <a:pt x="219005" y="254922"/>
                    </a:lnTo>
                    <a:lnTo>
                      <a:pt x="216411" y="259474"/>
                    </a:lnTo>
                    <a:lnTo>
                      <a:pt x="1747721" y="259474"/>
                    </a:lnTo>
                    <a:lnTo>
                      <a:pt x="1742532" y="254922"/>
                    </a:lnTo>
                    <a:lnTo>
                      <a:pt x="1741211" y="250370"/>
                    </a:lnTo>
                    <a:close/>
                  </a:path>
                  <a:path w="1965960" h="1374775">
                    <a:moveTo>
                      <a:pt x="1735976" y="245818"/>
                    </a:moveTo>
                    <a:lnTo>
                      <a:pt x="229475" y="245818"/>
                    </a:lnTo>
                    <a:lnTo>
                      <a:pt x="228155" y="250370"/>
                    </a:lnTo>
                    <a:lnTo>
                      <a:pt x="1737297" y="250370"/>
                    </a:lnTo>
                    <a:lnTo>
                      <a:pt x="1735976" y="245818"/>
                    </a:lnTo>
                    <a:close/>
                  </a:path>
                  <a:path w="1965960" h="1374775">
                    <a:moveTo>
                      <a:pt x="1730650" y="241265"/>
                    </a:moveTo>
                    <a:lnTo>
                      <a:pt x="234801" y="241265"/>
                    </a:lnTo>
                    <a:lnTo>
                      <a:pt x="233436" y="245818"/>
                    </a:lnTo>
                    <a:lnTo>
                      <a:pt x="1733291" y="245818"/>
                    </a:lnTo>
                    <a:lnTo>
                      <a:pt x="1730650" y="241265"/>
                    </a:lnTo>
                    <a:close/>
                  </a:path>
                  <a:path w="1965960" h="1374775">
                    <a:moveTo>
                      <a:pt x="1725279" y="236713"/>
                    </a:moveTo>
                    <a:lnTo>
                      <a:pt x="240173" y="236713"/>
                    </a:lnTo>
                    <a:lnTo>
                      <a:pt x="238807" y="241265"/>
                    </a:lnTo>
                    <a:lnTo>
                      <a:pt x="1726644" y="241265"/>
                    </a:lnTo>
                    <a:lnTo>
                      <a:pt x="1725279" y="236713"/>
                    </a:lnTo>
                    <a:close/>
                  </a:path>
                  <a:path w="1965960" h="1374775">
                    <a:moveTo>
                      <a:pt x="1719862" y="232161"/>
                    </a:moveTo>
                    <a:lnTo>
                      <a:pt x="245590" y="232161"/>
                    </a:lnTo>
                    <a:lnTo>
                      <a:pt x="241493" y="236713"/>
                    </a:lnTo>
                    <a:lnTo>
                      <a:pt x="1722593" y="236713"/>
                    </a:lnTo>
                    <a:lnTo>
                      <a:pt x="1719862" y="232161"/>
                    </a:lnTo>
                    <a:close/>
                  </a:path>
                  <a:path w="1965960" h="1374775">
                    <a:moveTo>
                      <a:pt x="1706114" y="223057"/>
                    </a:moveTo>
                    <a:lnTo>
                      <a:pt x="259338" y="223057"/>
                    </a:lnTo>
                    <a:lnTo>
                      <a:pt x="252418" y="227609"/>
                    </a:lnTo>
                    <a:lnTo>
                      <a:pt x="251053" y="232161"/>
                    </a:lnTo>
                    <a:lnTo>
                      <a:pt x="1714399" y="232161"/>
                    </a:lnTo>
                    <a:lnTo>
                      <a:pt x="1713033" y="227609"/>
                    </a:lnTo>
                    <a:lnTo>
                      <a:pt x="1710257" y="227609"/>
                    </a:lnTo>
                    <a:lnTo>
                      <a:pt x="1706114" y="223057"/>
                    </a:lnTo>
                    <a:close/>
                  </a:path>
                  <a:path w="1965960" h="1374775">
                    <a:moveTo>
                      <a:pt x="1696281" y="213952"/>
                    </a:moveTo>
                    <a:lnTo>
                      <a:pt x="271993" y="213952"/>
                    </a:lnTo>
                    <a:lnTo>
                      <a:pt x="263526" y="218505"/>
                    </a:lnTo>
                    <a:lnTo>
                      <a:pt x="260749" y="223057"/>
                    </a:lnTo>
                    <a:lnTo>
                      <a:pt x="1703292" y="223057"/>
                    </a:lnTo>
                    <a:lnTo>
                      <a:pt x="1700515" y="218505"/>
                    </a:lnTo>
                    <a:lnTo>
                      <a:pt x="1696281" y="213952"/>
                    </a:lnTo>
                    <a:close/>
                  </a:path>
                  <a:path w="1965960" h="1374775">
                    <a:moveTo>
                      <a:pt x="1689134" y="209400"/>
                    </a:moveTo>
                    <a:lnTo>
                      <a:pt x="276272" y="209400"/>
                    </a:lnTo>
                    <a:lnTo>
                      <a:pt x="274861" y="213952"/>
                    </a:lnTo>
                    <a:lnTo>
                      <a:pt x="1690591" y="213952"/>
                    </a:lnTo>
                    <a:lnTo>
                      <a:pt x="1689134" y="209400"/>
                    </a:lnTo>
                    <a:close/>
                  </a:path>
                  <a:path w="1965960" h="1374775">
                    <a:moveTo>
                      <a:pt x="1683399" y="204848"/>
                    </a:moveTo>
                    <a:lnTo>
                      <a:pt x="282053" y="204848"/>
                    </a:lnTo>
                    <a:lnTo>
                      <a:pt x="280596" y="209400"/>
                    </a:lnTo>
                    <a:lnTo>
                      <a:pt x="1684855" y="209400"/>
                    </a:lnTo>
                    <a:lnTo>
                      <a:pt x="1683399" y="204848"/>
                    </a:lnTo>
                    <a:close/>
                  </a:path>
                  <a:path w="1965960" h="1374775">
                    <a:moveTo>
                      <a:pt x="1674704" y="200296"/>
                    </a:moveTo>
                    <a:lnTo>
                      <a:pt x="290748" y="200296"/>
                    </a:lnTo>
                    <a:lnTo>
                      <a:pt x="287834" y="204848"/>
                    </a:lnTo>
                    <a:lnTo>
                      <a:pt x="1677617" y="204848"/>
                    </a:lnTo>
                    <a:lnTo>
                      <a:pt x="1674704" y="200296"/>
                    </a:lnTo>
                    <a:close/>
                  </a:path>
                  <a:path w="1965960" h="1374775">
                    <a:moveTo>
                      <a:pt x="1668832" y="195744"/>
                    </a:moveTo>
                    <a:lnTo>
                      <a:pt x="295163" y="195744"/>
                    </a:lnTo>
                    <a:lnTo>
                      <a:pt x="293661" y="200296"/>
                    </a:lnTo>
                    <a:lnTo>
                      <a:pt x="1673202" y="200296"/>
                    </a:lnTo>
                    <a:lnTo>
                      <a:pt x="1668832" y="195744"/>
                    </a:lnTo>
                    <a:close/>
                  </a:path>
                  <a:path w="1965960" h="1374775">
                    <a:moveTo>
                      <a:pt x="1662914" y="191191"/>
                    </a:moveTo>
                    <a:lnTo>
                      <a:pt x="304040" y="191191"/>
                    </a:lnTo>
                    <a:lnTo>
                      <a:pt x="301036" y="195744"/>
                    </a:lnTo>
                    <a:lnTo>
                      <a:pt x="1664371" y="195744"/>
                    </a:lnTo>
                    <a:lnTo>
                      <a:pt x="1662914" y="191191"/>
                    </a:lnTo>
                    <a:close/>
                  </a:path>
                  <a:path w="1965960" h="1374775">
                    <a:moveTo>
                      <a:pt x="1656950" y="186639"/>
                    </a:moveTo>
                    <a:lnTo>
                      <a:pt x="308501" y="186639"/>
                    </a:lnTo>
                    <a:lnTo>
                      <a:pt x="306999" y="191191"/>
                    </a:lnTo>
                    <a:lnTo>
                      <a:pt x="1658407" y="191191"/>
                    </a:lnTo>
                    <a:lnTo>
                      <a:pt x="1656950" y="186639"/>
                    </a:lnTo>
                    <a:close/>
                  </a:path>
                  <a:path w="1965960" h="1374775">
                    <a:moveTo>
                      <a:pt x="1649394" y="182087"/>
                    </a:moveTo>
                    <a:lnTo>
                      <a:pt x="316012" y="182087"/>
                    </a:lnTo>
                    <a:lnTo>
                      <a:pt x="314510" y="186639"/>
                    </a:lnTo>
                    <a:lnTo>
                      <a:pt x="1650942" y="186639"/>
                    </a:lnTo>
                    <a:lnTo>
                      <a:pt x="1649394" y="182087"/>
                    </a:lnTo>
                    <a:close/>
                  </a:path>
                  <a:path w="1965960" h="1374775">
                    <a:moveTo>
                      <a:pt x="1641792" y="177535"/>
                    </a:moveTo>
                    <a:lnTo>
                      <a:pt x="323615" y="177535"/>
                    </a:lnTo>
                    <a:lnTo>
                      <a:pt x="322112" y="182087"/>
                    </a:lnTo>
                    <a:lnTo>
                      <a:pt x="1643339" y="182087"/>
                    </a:lnTo>
                    <a:lnTo>
                      <a:pt x="1641792" y="177535"/>
                    </a:lnTo>
                    <a:close/>
                  </a:path>
                  <a:path w="1965960" h="1374775">
                    <a:moveTo>
                      <a:pt x="1631049" y="172983"/>
                    </a:moveTo>
                    <a:lnTo>
                      <a:pt x="334403" y="172983"/>
                    </a:lnTo>
                    <a:lnTo>
                      <a:pt x="326665" y="177535"/>
                    </a:lnTo>
                    <a:lnTo>
                      <a:pt x="1637239" y="177535"/>
                    </a:lnTo>
                    <a:lnTo>
                      <a:pt x="1631049" y="172983"/>
                    </a:lnTo>
                    <a:close/>
                  </a:path>
                  <a:path w="1965960" h="1374775">
                    <a:moveTo>
                      <a:pt x="1624858" y="168430"/>
                    </a:moveTo>
                    <a:lnTo>
                      <a:pt x="340594" y="168430"/>
                    </a:lnTo>
                    <a:lnTo>
                      <a:pt x="335951" y="172983"/>
                    </a:lnTo>
                    <a:lnTo>
                      <a:pt x="1629501" y="172983"/>
                    </a:lnTo>
                    <a:lnTo>
                      <a:pt x="1624858" y="168430"/>
                    </a:lnTo>
                    <a:close/>
                  </a:path>
                  <a:path w="1965960" h="1374775">
                    <a:moveTo>
                      <a:pt x="1620169" y="163878"/>
                    </a:moveTo>
                    <a:lnTo>
                      <a:pt x="345283" y="163878"/>
                    </a:lnTo>
                    <a:lnTo>
                      <a:pt x="343735" y="168430"/>
                    </a:lnTo>
                    <a:lnTo>
                      <a:pt x="1621717" y="168430"/>
                    </a:lnTo>
                    <a:lnTo>
                      <a:pt x="1620169" y="163878"/>
                    </a:lnTo>
                    <a:close/>
                  </a:path>
                  <a:path w="1965960" h="1374775">
                    <a:moveTo>
                      <a:pt x="1612293" y="159326"/>
                    </a:moveTo>
                    <a:lnTo>
                      <a:pt x="353158" y="159326"/>
                    </a:lnTo>
                    <a:lnTo>
                      <a:pt x="349972" y="163878"/>
                    </a:lnTo>
                    <a:lnTo>
                      <a:pt x="1613887" y="163878"/>
                    </a:lnTo>
                    <a:lnTo>
                      <a:pt x="1612293" y="159326"/>
                    </a:lnTo>
                    <a:close/>
                  </a:path>
                  <a:path w="1965960" h="1374775">
                    <a:moveTo>
                      <a:pt x="1602779" y="154774"/>
                    </a:moveTo>
                    <a:lnTo>
                      <a:pt x="365859" y="154774"/>
                    </a:lnTo>
                    <a:lnTo>
                      <a:pt x="354706" y="159326"/>
                    </a:lnTo>
                    <a:lnTo>
                      <a:pt x="1607559" y="159326"/>
                    </a:lnTo>
                    <a:lnTo>
                      <a:pt x="1602779" y="154774"/>
                    </a:lnTo>
                    <a:close/>
                  </a:path>
                  <a:path w="1965960" h="1374775">
                    <a:moveTo>
                      <a:pt x="1596361" y="150222"/>
                    </a:moveTo>
                    <a:lnTo>
                      <a:pt x="369091" y="150222"/>
                    </a:lnTo>
                    <a:lnTo>
                      <a:pt x="367498" y="154774"/>
                    </a:lnTo>
                    <a:lnTo>
                      <a:pt x="1601141" y="154774"/>
                    </a:lnTo>
                    <a:lnTo>
                      <a:pt x="1596361" y="150222"/>
                    </a:lnTo>
                    <a:close/>
                  </a:path>
                  <a:path w="1965960" h="1374775">
                    <a:moveTo>
                      <a:pt x="1588258" y="145670"/>
                    </a:moveTo>
                    <a:lnTo>
                      <a:pt x="377148" y="145670"/>
                    </a:lnTo>
                    <a:lnTo>
                      <a:pt x="375555" y="150222"/>
                    </a:lnTo>
                    <a:lnTo>
                      <a:pt x="1589897" y="150222"/>
                    </a:lnTo>
                    <a:lnTo>
                      <a:pt x="1588258" y="145670"/>
                    </a:lnTo>
                    <a:close/>
                  </a:path>
                  <a:path w="1965960" h="1374775">
                    <a:moveTo>
                      <a:pt x="1571916" y="136565"/>
                    </a:moveTo>
                    <a:lnTo>
                      <a:pt x="395129" y="136565"/>
                    </a:lnTo>
                    <a:lnTo>
                      <a:pt x="385297" y="141117"/>
                    </a:lnTo>
                    <a:lnTo>
                      <a:pt x="383658" y="145670"/>
                    </a:lnTo>
                    <a:lnTo>
                      <a:pt x="1581794" y="145670"/>
                    </a:lnTo>
                    <a:lnTo>
                      <a:pt x="1580155" y="141117"/>
                    </a:lnTo>
                    <a:lnTo>
                      <a:pt x="1573600" y="141117"/>
                    </a:lnTo>
                    <a:lnTo>
                      <a:pt x="1571916" y="136565"/>
                    </a:lnTo>
                    <a:close/>
                  </a:path>
                  <a:path w="1965960" h="1374775">
                    <a:moveTo>
                      <a:pt x="1561992" y="132013"/>
                    </a:moveTo>
                    <a:lnTo>
                      <a:pt x="403414" y="132013"/>
                    </a:lnTo>
                    <a:lnTo>
                      <a:pt x="401776" y="136565"/>
                    </a:lnTo>
                    <a:lnTo>
                      <a:pt x="1563676" y="136565"/>
                    </a:lnTo>
                    <a:lnTo>
                      <a:pt x="1561992" y="132013"/>
                    </a:lnTo>
                    <a:close/>
                  </a:path>
                  <a:path w="1965960" h="1374775">
                    <a:moveTo>
                      <a:pt x="1553661" y="127461"/>
                    </a:moveTo>
                    <a:lnTo>
                      <a:pt x="411790" y="127461"/>
                    </a:lnTo>
                    <a:lnTo>
                      <a:pt x="410106" y="132013"/>
                    </a:lnTo>
                    <a:lnTo>
                      <a:pt x="1555346" y="132013"/>
                    </a:lnTo>
                    <a:lnTo>
                      <a:pt x="1553661" y="127461"/>
                    </a:lnTo>
                    <a:close/>
                  </a:path>
                  <a:path w="1965960" h="1374775">
                    <a:moveTo>
                      <a:pt x="1538503" y="122909"/>
                    </a:moveTo>
                    <a:lnTo>
                      <a:pt x="421851" y="122909"/>
                    </a:lnTo>
                    <a:lnTo>
                      <a:pt x="416798" y="127461"/>
                    </a:lnTo>
                    <a:lnTo>
                      <a:pt x="1548608" y="127461"/>
                    </a:lnTo>
                    <a:lnTo>
                      <a:pt x="1538503" y="122909"/>
                    </a:lnTo>
                    <a:close/>
                  </a:path>
                  <a:path w="1965960" h="1374775">
                    <a:moveTo>
                      <a:pt x="1533404" y="118356"/>
                    </a:moveTo>
                    <a:lnTo>
                      <a:pt x="430363" y="118356"/>
                    </a:lnTo>
                    <a:lnTo>
                      <a:pt x="428634" y="122909"/>
                    </a:lnTo>
                    <a:lnTo>
                      <a:pt x="1536773" y="122909"/>
                    </a:lnTo>
                    <a:lnTo>
                      <a:pt x="1533404" y="118356"/>
                    </a:lnTo>
                    <a:close/>
                  </a:path>
                  <a:path w="1965960" h="1374775">
                    <a:moveTo>
                      <a:pt x="1524846" y="113804"/>
                    </a:moveTo>
                    <a:lnTo>
                      <a:pt x="440606" y="113804"/>
                    </a:lnTo>
                    <a:lnTo>
                      <a:pt x="438876" y="118356"/>
                    </a:lnTo>
                    <a:lnTo>
                      <a:pt x="1526530" y="118356"/>
                    </a:lnTo>
                    <a:lnTo>
                      <a:pt x="1524846" y="113804"/>
                    </a:lnTo>
                    <a:close/>
                  </a:path>
                  <a:path w="1965960" h="1374775">
                    <a:moveTo>
                      <a:pt x="1505818" y="104700"/>
                    </a:moveTo>
                    <a:lnTo>
                      <a:pt x="461364" y="104700"/>
                    </a:lnTo>
                    <a:lnTo>
                      <a:pt x="456174" y="109252"/>
                    </a:lnTo>
                    <a:lnTo>
                      <a:pt x="454399" y="109252"/>
                    </a:lnTo>
                    <a:lnTo>
                      <a:pt x="445750" y="113804"/>
                    </a:lnTo>
                    <a:lnTo>
                      <a:pt x="1519656" y="113804"/>
                    </a:lnTo>
                    <a:lnTo>
                      <a:pt x="1505818" y="104700"/>
                    </a:lnTo>
                    <a:close/>
                  </a:path>
                  <a:path w="1965960" h="1374775">
                    <a:moveTo>
                      <a:pt x="1495302" y="100148"/>
                    </a:moveTo>
                    <a:lnTo>
                      <a:pt x="470149" y="100148"/>
                    </a:lnTo>
                    <a:lnTo>
                      <a:pt x="468374" y="104700"/>
                    </a:lnTo>
                    <a:lnTo>
                      <a:pt x="1497078" y="104700"/>
                    </a:lnTo>
                    <a:lnTo>
                      <a:pt x="1495302" y="100148"/>
                    </a:lnTo>
                    <a:close/>
                  </a:path>
                  <a:path w="1965960" h="1374775">
                    <a:moveTo>
                      <a:pt x="1482966" y="95595"/>
                    </a:moveTo>
                    <a:lnTo>
                      <a:pt x="482486" y="95595"/>
                    </a:lnTo>
                    <a:lnTo>
                      <a:pt x="475385" y="100148"/>
                    </a:lnTo>
                    <a:lnTo>
                      <a:pt x="1486517" y="100148"/>
                    </a:lnTo>
                    <a:lnTo>
                      <a:pt x="1482966" y="95595"/>
                    </a:lnTo>
                    <a:close/>
                  </a:path>
                  <a:path w="1965960" h="1374775">
                    <a:moveTo>
                      <a:pt x="1472314" y="91043"/>
                    </a:moveTo>
                    <a:lnTo>
                      <a:pt x="494913" y="91043"/>
                    </a:lnTo>
                    <a:lnTo>
                      <a:pt x="489587" y="95595"/>
                    </a:lnTo>
                    <a:lnTo>
                      <a:pt x="1475864" y="95595"/>
                    </a:lnTo>
                    <a:lnTo>
                      <a:pt x="1472314" y="91043"/>
                    </a:lnTo>
                    <a:close/>
                  </a:path>
                  <a:path w="1965960" h="1374775">
                    <a:moveTo>
                      <a:pt x="1461525" y="86491"/>
                    </a:moveTo>
                    <a:lnTo>
                      <a:pt x="503881" y="86491"/>
                    </a:lnTo>
                    <a:lnTo>
                      <a:pt x="502106" y="91043"/>
                    </a:lnTo>
                    <a:lnTo>
                      <a:pt x="1463346" y="91043"/>
                    </a:lnTo>
                    <a:lnTo>
                      <a:pt x="1461525" y="86491"/>
                    </a:lnTo>
                    <a:close/>
                  </a:path>
                  <a:path w="1965960" h="1374775">
                    <a:moveTo>
                      <a:pt x="1437990" y="77387"/>
                    </a:moveTo>
                    <a:lnTo>
                      <a:pt x="527416" y="77387"/>
                    </a:lnTo>
                    <a:lnTo>
                      <a:pt x="525595" y="81939"/>
                    </a:lnTo>
                    <a:lnTo>
                      <a:pt x="518357" y="81939"/>
                    </a:lnTo>
                    <a:lnTo>
                      <a:pt x="511074" y="86491"/>
                    </a:lnTo>
                    <a:lnTo>
                      <a:pt x="1450736" y="86491"/>
                    </a:lnTo>
                    <a:lnTo>
                      <a:pt x="1439811" y="81939"/>
                    </a:lnTo>
                    <a:lnTo>
                      <a:pt x="1437990" y="77387"/>
                    </a:lnTo>
                    <a:close/>
                  </a:path>
                  <a:path w="1965960" h="1374775">
                    <a:moveTo>
                      <a:pt x="1425199" y="72835"/>
                    </a:moveTo>
                    <a:lnTo>
                      <a:pt x="540253" y="72835"/>
                    </a:lnTo>
                    <a:lnTo>
                      <a:pt x="538387" y="77387"/>
                    </a:lnTo>
                    <a:lnTo>
                      <a:pt x="1428840" y="77387"/>
                    </a:lnTo>
                    <a:lnTo>
                      <a:pt x="1425199" y="72835"/>
                    </a:lnTo>
                    <a:close/>
                  </a:path>
                  <a:path w="1965960" h="1374775">
                    <a:moveTo>
                      <a:pt x="1412270" y="68282"/>
                    </a:moveTo>
                    <a:lnTo>
                      <a:pt x="553136" y="68282"/>
                    </a:lnTo>
                    <a:lnTo>
                      <a:pt x="551315" y="72835"/>
                    </a:lnTo>
                    <a:lnTo>
                      <a:pt x="1414137" y="72835"/>
                    </a:lnTo>
                    <a:lnTo>
                      <a:pt x="1412270" y="68282"/>
                    </a:lnTo>
                    <a:close/>
                  </a:path>
                  <a:path w="1965960" h="1374775">
                    <a:moveTo>
                      <a:pt x="1397430" y="63730"/>
                    </a:moveTo>
                    <a:lnTo>
                      <a:pt x="568022" y="63730"/>
                    </a:lnTo>
                    <a:lnTo>
                      <a:pt x="564289" y="68282"/>
                    </a:lnTo>
                    <a:lnTo>
                      <a:pt x="1399297" y="68282"/>
                    </a:lnTo>
                    <a:lnTo>
                      <a:pt x="1397430" y="63730"/>
                    </a:lnTo>
                    <a:close/>
                  </a:path>
                  <a:path w="1965960" h="1374775">
                    <a:moveTo>
                      <a:pt x="1384320" y="59178"/>
                    </a:moveTo>
                    <a:lnTo>
                      <a:pt x="581132" y="59178"/>
                    </a:lnTo>
                    <a:lnTo>
                      <a:pt x="579265" y="63730"/>
                    </a:lnTo>
                    <a:lnTo>
                      <a:pt x="1386186" y="63730"/>
                    </a:lnTo>
                    <a:lnTo>
                      <a:pt x="1384320" y="59178"/>
                    </a:lnTo>
                    <a:close/>
                  </a:path>
                  <a:path w="1965960" h="1374775">
                    <a:moveTo>
                      <a:pt x="1369207" y="54626"/>
                    </a:moveTo>
                    <a:lnTo>
                      <a:pt x="596200" y="54626"/>
                    </a:lnTo>
                    <a:lnTo>
                      <a:pt x="594333" y="59178"/>
                    </a:lnTo>
                    <a:lnTo>
                      <a:pt x="1371119" y="59178"/>
                    </a:lnTo>
                    <a:lnTo>
                      <a:pt x="1369207" y="54626"/>
                    </a:lnTo>
                    <a:close/>
                  </a:path>
                  <a:path w="1965960" h="1374775">
                    <a:moveTo>
                      <a:pt x="1354048" y="50074"/>
                    </a:moveTo>
                    <a:lnTo>
                      <a:pt x="613316" y="50074"/>
                    </a:lnTo>
                    <a:lnTo>
                      <a:pt x="607580" y="54626"/>
                    </a:lnTo>
                    <a:lnTo>
                      <a:pt x="1355914" y="54626"/>
                    </a:lnTo>
                    <a:lnTo>
                      <a:pt x="1354048" y="50074"/>
                    </a:lnTo>
                    <a:close/>
                  </a:path>
                  <a:path w="1965960" h="1374775">
                    <a:moveTo>
                      <a:pt x="1336795" y="45521"/>
                    </a:moveTo>
                    <a:lnTo>
                      <a:pt x="628611" y="45521"/>
                    </a:lnTo>
                    <a:lnTo>
                      <a:pt x="626699" y="50074"/>
                    </a:lnTo>
                    <a:lnTo>
                      <a:pt x="1338753" y="50074"/>
                    </a:lnTo>
                    <a:lnTo>
                      <a:pt x="1336795" y="45521"/>
                    </a:lnTo>
                    <a:close/>
                  </a:path>
                  <a:path w="1965960" h="1374775">
                    <a:moveTo>
                      <a:pt x="1319451" y="40969"/>
                    </a:moveTo>
                    <a:lnTo>
                      <a:pt x="645955" y="40969"/>
                    </a:lnTo>
                    <a:lnTo>
                      <a:pt x="644043" y="45521"/>
                    </a:lnTo>
                    <a:lnTo>
                      <a:pt x="1321409" y="45521"/>
                    </a:lnTo>
                    <a:lnTo>
                      <a:pt x="1319451" y="40969"/>
                    </a:lnTo>
                    <a:close/>
                  </a:path>
                  <a:path w="1965960" h="1374775">
                    <a:moveTo>
                      <a:pt x="1298101" y="36417"/>
                    </a:moveTo>
                    <a:lnTo>
                      <a:pt x="665393" y="36417"/>
                    </a:lnTo>
                    <a:lnTo>
                      <a:pt x="661478" y="40969"/>
                    </a:lnTo>
                    <a:lnTo>
                      <a:pt x="1303974" y="40969"/>
                    </a:lnTo>
                    <a:lnTo>
                      <a:pt x="1298101" y="36417"/>
                    </a:lnTo>
                    <a:close/>
                  </a:path>
                  <a:path w="1965960" h="1374775">
                    <a:moveTo>
                      <a:pt x="1282487" y="31865"/>
                    </a:moveTo>
                    <a:lnTo>
                      <a:pt x="682964" y="31865"/>
                    </a:lnTo>
                    <a:lnTo>
                      <a:pt x="677092" y="36417"/>
                    </a:lnTo>
                    <a:lnTo>
                      <a:pt x="1288360" y="36417"/>
                    </a:lnTo>
                    <a:lnTo>
                      <a:pt x="1282487" y="31865"/>
                    </a:lnTo>
                    <a:close/>
                  </a:path>
                  <a:path w="1965960" h="1374775">
                    <a:moveTo>
                      <a:pt x="1260819" y="27313"/>
                    </a:moveTo>
                    <a:lnTo>
                      <a:pt x="704587" y="27313"/>
                    </a:lnTo>
                    <a:lnTo>
                      <a:pt x="700672" y="31865"/>
                    </a:lnTo>
                    <a:lnTo>
                      <a:pt x="1262822" y="31865"/>
                    </a:lnTo>
                    <a:lnTo>
                      <a:pt x="1260819" y="27313"/>
                    </a:lnTo>
                    <a:close/>
                  </a:path>
                  <a:path w="1965960" h="1374775">
                    <a:moveTo>
                      <a:pt x="1239060" y="22760"/>
                    </a:moveTo>
                    <a:lnTo>
                      <a:pt x="726392" y="22760"/>
                    </a:lnTo>
                    <a:lnTo>
                      <a:pt x="724389" y="27313"/>
                    </a:lnTo>
                    <a:lnTo>
                      <a:pt x="1241017" y="27313"/>
                    </a:lnTo>
                    <a:lnTo>
                      <a:pt x="1239060" y="22760"/>
                    </a:lnTo>
                    <a:close/>
                  </a:path>
                  <a:path w="1965960" h="1374775">
                    <a:moveTo>
                      <a:pt x="1213112" y="18208"/>
                    </a:moveTo>
                    <a:lnTo>
                      <a:pt x="752294" y="18208"/>
                    </a:lnTo>
                    <a:lnTo>
                      <a:pt x="750291" y="22760"/>
                    </a:lnTo>
                    <a:lnTo>
                      <a:pt x="1215115" y="22760"/>
                    </a:lnTo>
                    <a:lnTo>
                      <a:pt x="1213112" y="18208"/>
                    </a:lnTo>
                    <a:close/>
                  </a:path>
                  <a:path w="1965960" h="1374775">
                    <a:moveTo>
                      <a:pt x="1183022" y="13656"/>
                    </a:moveTo>
                    <a:lnTo>
                      <a:pt x="782430" y="13656"/>
                    </a:lnTo>
                    <a:lnTo>
                      <a:pt x="780427" y="18208"/>
                    </a:lnTo>
                    <a:lnTo>
                      <a:pt x="1185025" y="18208"/>
                    </a:lnTo>
                    <a:lnTo>
                      <a:pt x="1183022" y="13656"/>
                    </a:lnTo>
                    <a:close/>
                  </a:path>
                  <a:path w="1965960" h="1374775">
                    <a:moveTo>
                      <a:pt x="1150656" y="9104"/>
                    </a:moveTo>
                    <a:lnTo>
                      <a:pt x="814796" y="9104"/>
                    </a:lnTo>
                    <a:lnTo>
                      <a:pt x="812747" y="13656"/>
                    </a:lnTo>
                    <a:lnTo>
                      <a:pt x="1152705" y="13656"/>
                    </a:lnTo>
                    <a:lnTo>
                      <a:pt x="1150656" y="9104"/>
                    </a:lnTo>
                    <a:close/>
                  </a:path>
                  <a:path w="1965960" h="1374775">
                    <a:moveTo>
                      <a:pt x="1103860" y="4552"/>
                    </a:moveTo>
                    <a:lnTo>
                      <a:pt x="861592" y="4552"/>
                    </a:lnTo>
                    <a:lnTo>
                      <a:pt x="855447" y="9104"/>
                    </a:lnTo>
                    <a:lnTo>
                      <a:pt x="1109960" y="9104"/>
                    </a:lnTo>
                    <a:lnTo>
                      <a:pt x="1103860" y="4552"/>
                    </a:lnTo>
                    <a:close/>
                  </a:path>
                  <a:path w="1965960" h="1374775">
                    <a:moveTo>
                      <a:pt x="1036214" y="0"/>
                    </a:moveTo>
                    <a:lnTo>
                      <a:pt x="929238" y="0"/>
                    </a:lnTo>
                    <a:lnTo>
                      <a:pt x="927189" y="4552"/>
                    </a:lnTo>
                    <a:lnTo>
                      <a:pt x="1038263" y="4552"/>
                    </a:lnTo>
                    <a:lnTo>
                      <a:pt x="1036214" y="0"/>
                    </a:lnTo>
                    <a:close/>
                  </a:path>
                </a:pathLst>
              </a:custGeom>
              <a:solidFill>
                <a:schemeClr val="accent4">
                  <a:alpha val="49798"/>
                </a:schemeClr>
              </a:solidFill>
            </p:spPr>
            <p:txBody>
              <a:bodyPr wrap="square" lIns="0" tIns="0" rIns="0" bIns="0" rtlCol="0"/>
              <a:lstStyle/>
              <a:p>
                <a:endParaRPr sz="1400"/>
              </a:p>
            </p:txBody>
          </p:sp>
          <p:sp>
            <p:nvSpPr>
              <p:cNvPr id="14" name="object 23"/>
              <p:cNvSpPr txBox="1"/>
              <p:nvPr/>
            </p:nvSpPr>
            <p:spPr>
              <a:xfrm>
                <a:off x="1790700" y="1557268"/>
                <a:ext cx="1472932" cy="227626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400" spc="-5" dirty="0">
                    <a:latin typeface="+mn-lt"/>
                    <a:cs typeface="Times New Roman"/>
                  </a:rPr>
                  <a:t>Hundeliebhaber*in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15" name="object 24"/>
              <p:cNvSpPr txBox="1"/>
              <p:nvPr/>
            </p:nvSpPr>
            <p:spPr>
              <a:xfrm>
                <a:off x="3431177" y="1557268"/>
                <a:ext cx="1503814" cy="227626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400" spc="-5" dirty="0">
                    <a:latin typeface="+mn-lt"/>
                    <a:cs typeface="Times New Roman"/>
                  </a:rPr>
                  <a:t>Katzenliebhaber*in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11" name="object 20"/>
              <p:cNvSpPr txBox="1"/>
              <p:nvPr/>
            </p:nvSpPr>
            <p:spPr>
              <a:xfrm>
                <a:off x="2092754" y="2454756"/>
                <a:ext cx="228472" cy="229550"/>
              </a:xfrm>
              <a:prstGeom prst="rect">
                <a:avLst/>
              </a:prstGeom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10"/>
                  </a:spcBef>
                </a:pPr>
                <a:r>
                  <a:rPr sz="1400" spc="0" dirty="0">
                    <a:latin typeface="+mn-lt"/>
                    <a:cs typeface="Times New Roman"/>
                  </a:rPr>
                  <a:t>20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12" name="object 21"/>
              <p:cNvSpPr txBox="1"/>
              <p:nvPr/>
            </p:nvSpPr>
            <p:spPr>
              <a:xfrm>
                <a:off x="4058714" y="2454756"/>
                <a:ext cx="295572" cy="229550"/>
              </a:xfrm>
              <a:prstGeom prst="rect">
                <a:avLst/>
              </a:prstGeom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10"/>
                  </a:spcBef>
                </a:pPr>
                <a:r>
                  <a:rPr sz="1400" spc="0" dirty="0">
                    <a:latin typeface="+mn-lt"/>
                    <a:cs typeface="Times New Roman"/>
                  </a:rPr>
                  <a:t>15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13" name="object 22"/>
              <p:cNvSpPr txBox="1"/>
              <p:nvPr/>
            </p:nvSpPr>
            <p:spPr>
              <a:xfrm>
                <a:off x="3169255" y="2454756"/>
                <a:ext cx="261922" cy="229550"/>
              </a:xfrm>
              <a:prstGeom prst="rect">
                <a:avLst/>
              </a:prstGeom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10"/>
                  </a:spcBef>
                </a:pPr>
                <a:r>
                  <a:rPr sz="1400" spc="0" dirty="0">
                    <a:latin typeface="+mn-lt"/>
                    <a:cs typeface="Times New Roman"/>
                  </a:rPr>
                  <a:t>10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637832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ösung Übung: Mengenlehre	</a:t>
            </a:r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dirty="0"/>
              <a:t>Stimmt die Aussage: Wenn Beobachtungen anhand einer </a:t>
            </a:r>
            <a:r>
              <a:rPr lang="de-DE" dirty="0">
                <a:solidFill>
                  <a:schemeClr val="accent1"/>
                </a:solidFill>
              </a:rPr>
              <a:t>Und (∧)</a:t>
            </a:r>
            <a:r>
              <a:rPr lang="de-DE" dirty="0"/>
              <a:t> Verknüpfung ausgewählt werden, so werden mindestens so viele Beobachtungen wie bei einer </a:t>
            </a:r>
            <a:r>
              <a:rPr lang="de-DE" dirty="0">
                <a:solidFill>
                  <a:schemeClr val="accent1"/>
                </a:solidFill>
              </a:rPr>
              <a:t>Oder (∨)</a:t>
            </a:r>
            <a:r>
              <a:rPr lang="de-DE" dirty="0"/>
              <a:t> Verknüpfung ausgewählt?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Ja.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Nein.</a:t>
            </a:r>
          </a:p>
          <a:p>
            <a:pPr marL="0" lvl="2" indent="0">
              <a:buNone/>
            </a:pPr>
            <a:endParaRPr lang="de-DE" dirty="0"/>
          </a:p>
          <a:p>
            <a:pPr marL="0" lvl="2" indent="0" algn="just">
              <a:buNone/>
            </a:pPr>
            <a:r>
              <a:rPr lang="de-DE" b="1" dirty="0">
                <a:solidFill>
                  <a:schemeClr val="accent1"/>
                </a:solidFill>
              </a:rPr>
              <a:t>Nein</a:t>
            </a:r>
            <a:r>
              <a:rPr lang="de-DE" dirty="0"/>
              <a:t>: Während 10 Beobachtungen beide Bedingungen erfüllen (∧ in Mengenschreibweise, ∩), erfüllen 45 mindestens eine (∨, in Mengenschreibweise, ∪).</a:t>
            </a:r>
          </a:p>
          <a:p>
            <a:pPr marL="0" lvl="2" indent="0">
              <a:buNone/>
            </a:pPr>
            <a:endParaRPr lang="de-DE" dirty="0"/>
          </a:p>
        </p:txBody>
      </p:sp>
      <p:grpSp>
        <p:nvGrpSpPr>
          <p:cNvPr id="19" name="Gruppieren 18"/>
          <p:cNvGrpSpPr/>
          <p:nvPr/>
        </p:nvGrpSpPr>
        <p:grpSpPr>
          <a:xfrm>
            <a:off x="1311728" y="1130028"/>
            <a:ext cx="3144291" cy="1671192"/>
            <a:chOff x="1790700" y="1557268"/>
            <a:chExt cx="3144291" cy="1671192"/>
          </a:xfrm>
        </p:grpSpPr>
        <p:sp>
          <p:nvSpPr>
            <p:cNvPr id="20" name="object 19"/>
            <p:cNvSpPr/>
            <p:nvPr/>
          </p:nvSpPr>
          <p:spPr>
            <a:xfrm>
              <a:off x="1790700" y="1853685"/>
              <a:ext cx="1965960" cy="1374775"/>
            </a:xfrm>
            <a:custGeom>
              <a:avLst/>
              <a:gdLst/>
              <a:ahLst/>
              <a:cxnLst/>
              <a:rect l="l" t="t" r="r" b="b"/>
              <a:pathLst>
                <a:path w="1965960" h="1374775">
                  <a:moveTo>
                    <a:pt x="1095666" y="1370208"/>
                  </a:moveTo>
                  <a:lnTo>
                    <a:pt x="869786" y="1370208"/>
                  </a:lnTo>
                  <a:lnTo>
                    <a:pt x="871835" y="1374760"/>
                  </a:lnTo>
                  <a:lnTo>
                    <a:pt x="1093617" y="1374760"/>
                  </a:lnTo>
                  <a:lnTo>
                    <a:pt x="1095666" y="1370208"/>
                  </a:lnTo>
                  <a:close/>
                </a:path>
                <a:path w="1965960" h="1374775">
                  <a:moveTo>
                    <a:pt x="1144556" y="1365656"/>
                  </a:moveTo>
                  <a:lnTo>
                    <a:pt x="820850" y="1365656"/>
                  </a:lnTo>
                  <a:lnTo>
                    <a:pt x="835098" y="1370208"/>
                  </a:lnTo>
                  <a:lnTo>
                    <a:pt x="1130353" y="1370208"/>
                  </a:lnTo>
                  <a:lnTo>
                    <a:pt x="1144556" y="1365656"/>
                  </a:lnTo>
                  <a:close/>
                </a:path>
                <a:path w="1965960" h="1374775">
                  <a:moveTo>
                    <a:pt x="1178971" y="1361104"/>
                  </a:moveTo>
                  <a:lnTo>
                    <a:pt x="786481" y="1361104"/>
                  </a:lnTo>
                  <a:lnTo>
                    <a:pt x="806647" y="1365656"/>
                  </a:lnTo>
                  <a:lnTo>
                    <a:pt x="1158759" y="1365656"/>
                  </a:lnTo>
                  <a:lnTo>
                    <a:pt x="1178971" y="1361104"/>
                  </a:lnTo>
                  <a:close/>
                </a:path>
                <a:path w="1965960" h="1374775">
                  <a:moveTo>
                    <a:pt x="1209106" y="1356552"/>
                  </a:moveTo>
                  <a:lnTo>
                    <a:pt x="756300" y="1356552"/>
                  </a:lnTo>
                  <a:lnTo>
                    <a:pt x="774372" y="1361104"/>
                  </a:lnTo>
                  <a:lnTo>
                    <a:pt x="1191080" y="1361104"/>
                  </a:lnTo>
                  <a:lnTo>
                    <a:pt x="1209106" y="1356552"/>
                  </a:lnTo>
                  <a:close/>
                </a:path>
                <a:path w="1965960" h="1374775">
                  <a:moveTo>
                    <a:pt x="1239060" y="1351999"/>
                  </a:moveTo>
                  <a:lnTo>
                    <a:pt x="724389" y="1351999"/>
                  </a:lnTo>
                  <a:lnTo>
                    <a:pt x="744328" y="1356552"/>
                  </a:lnTo>
                  <a:lnTo>
                    <a:pt x="1221124" y="1356552"/>
                  </a:lnTo>
                  <a:lnTo>
                    <a:pt x="1239060" y="1351999"/>
                  </a:lnTo>
                  <a:close/>
                </a:path>
                <a:path w="1965960" h="1374775">
                  <a:moveTo>
                    <a:pt x="1256904" y="1347447"/>
                  </a:moveTo>
                  <a:lnTo>
                    <a:pt x="706590" y="1347447"/>
                  </a:lnTo>
                  <a:lnTo>
                    <a:pt x="710505" y="1351999"/>
                  </a:lnTo>
                  <a:lnTo>
                    <a:pt x="1254901" y="1351999"/>
                  </a:lnTo>
                  <a:lnTo>
                    <a:pt x="1256904" y="1347447"/>
                  </a:lnTo>
                  <a:close/>
                </a:path>
                <a:path w="1965960" h="1374775">
                  <a:moveTo>
                    <a:pt x="1278573" y="1342895"/>
                  </a:moveTo>
                  <a:lnTo>
                    <a:pt x="684922" y="1342895"/>
                  </a:lnTo>
                  <a:lnTo>
                    <a:pt x="688837" y="1347447"/>
                  </a:lnTo>
                  <a:lnTo>
                    <a:pt x="1276570" y="1347447"/>
                  </a:lnTo>
                  <a:lnTo>
                    <a:pt x="1278573" y="1342895"/>
                  </a:lnTo>
                  <a:close/>
                </a:path>
                <a:path w="1965960" h="1374775">
                  <a:moveTo>
                    <a:pt x="1300059" y="1338343"/>
                  </a:moveTo>
                  <a:lnTo>
                    <a:pt x="665393" y="1338343"/>
                  </a:lnTo>
                  <a:lnTo>
                    <a:pt x="667305" y="1342895"/>
                  </a:lnTo>
                  <a:lnTo>
                    <a:pt x="1298101" y="1342895"/>
                  </a:lnTo>
                  <a:lnTo>
                    <a:pt x="1300059" y="1338343"/>
                  </a:lnTo>
                  <a:close/>
                </a:path>
                <a:path w="1965960" h="1374775">
                  <a:moveTo>
                    <a:pt x="1317539" y="1333791"/>
                  </a:moveTo>
                  <a:lnTo>
                    <a:pt x="647912" y="1333791"/>
                  </a:lnTo>
                  <a:lnTo>
                    <a:pt x="649824" y="1338343"/>
                  </a:lnTo>
                  <a:lnTo>
                    <a:pt x="1315582" y="1338343"/>
                  </a:lnTo>
                  <a:lnTo>
                    <a:pt x="1317539" y="1333791"/>
                  </a:lnTo>
                  <a:close/>
                </a:path>
                <a:path w="1965960" h="1374775">
                  <a:moveTo>
                    <a:pt x="1334883" y="1329238"/>
                  </a:moveTo>
                  <a:lnTo>
                    <a:pt x="630523" y="1329238"/>
                  </a:lnTo>
                  <a:lnTo>
                    <a:pt x="632481" y="1333791"/>
                  </a:lnTo>
                  <a:lnTo>
                    <a:pt x="1332971" y="1333791"/>
                  </a:lnTo>
                  <a:lnTo>
                    <a:pt x="1334883" y="1329238"/>
                  </a:lnTo>
                  <a:close/>
                </a:path>
                <a:path w="1965960" h="1374775">
                  <a:moveTo>
                    <a:pt x="1354048" y="1324686"/>
                  </a:moveTo>
                  <a:lnTo>
                    <a:pt x="607580" y="1324686"/>
                  </a:lnTo>
                  <a:lnTo>
                    <a:pt x="615228" y="1329238"/>
                  </a:lnTo>
                  <a:lnTo>
                    <a:pt x="1350224" y="1329238"/>
                  </a:lnTo>
                  <a:lnTo>
                    <a:pt x="1354048" y="1324686"/>
                  </a:lnTo>
                  <a:close/>
                </a:path>
                <a:path w="1965960" h="1374775">
                  <a:moveTo>
                    <a:pt x="1367340" y="1320134"/>
                  </a:moveTo>
                  <a:lnTo>
                    <a:pt x="598112" y="1320134"/>
                  </a:lnTo>
                  <a:lnTo>
                    <a:pt x="600023" y="1324686"/>
                  </a:lnTo>
                  <a:lnTo>
                    <a:pt x="1363516" y="1324686"/>
                  </a:lnTo>
                  <a:lnTo>
                    <a:pt x="1367340" y="1320134"/>
                  </a:lnTo>
                  <a:close/>
                </a:path>
                <a:path w="1965960" h="1374775">
                  <a:moveTo>
                    <a:pt x="1382408" y="1315582"/>
                  </a:moveTo>
                  <a:lnTo>
                    <a:pt x="582998" y="1315582"/>
                  </a:lnTo>
                  <a:lnTo>
                    <a:pt x="584910" y="1320134"/>
                  </a:lnTo>
                  <a:lnTo>
                    <a:pt x="1380542" y="1320134"/>
                  </a:lnTo>
                  <a:lnTo>
                    <a:pt x="1382408" y="1315582"/>
                  </a:lnTo>
                  <a:close/>
                </a:path>
                <a:path w="1965960" h="1374775">
                  <a:moveTo>
                    <a:pt x="1397430" y="1311030"/>
                  </a:moveTo>
                  <a:lnTo>
                    <a:pt x="568022" y="1311030"/>
                  </a:lnTo>
                  <a:lnTo>
                    <a:pt x="573621" y="1315582"/>
                  </a:lnTo>
                  <a:lnTo>
                    <a:pt x="1395564" y="1315582"/>
                  </a:lnTo>
                  <a:lnTo>
                    <a:pt x="1397430" y="1311030"/>
                  </a:lnTo>
                  <a:close/>
                </a:path>
                <a:path w="1965960" h="1374775">
                  <a:moveTo>
                    <a:pt x="1410404" y="1306477"/>
                  </a:moveTo>
                  <a:lnTo>
                    <a:pt x="555002" y="1306477"/>
                  </a:lnTo>
                  <a:lnTo>
                    <a:pt x="556869" y="1311030"/>
                  </a:lnTo>
                  <a:lnTo>
                    <a:pt x="1408583" y="1311030"/>
                  </a:lnTo>
                  <a:lnTo>
                    <a:pt x="1410404" y="1306477"/>
                  </a:lnTo>
                  <a:close/>
                </a:path>
                <a:path w="1965960" h="1374775">
                  <a:moveTo>
                    <a:pt x="1423332" y="1301925"/>
                  </a:moveTo>
                  <a:lnTo>
                    <a:pt x="542074" y="1301925"/>
                  </a:lnTo>
                  <a:lnTo>
                    <a:pt x="543940" y="1306477"/>
                  </a:lnTo>
                  <a:lnTo>
                    <a:pt x="1419690" y="1306477"/>
                  </a:lnTo>
                  <a:lnTo>
                    <a:pt x="1423332" y="1301925"/>
                  </a:lnTo>
                  <a:close/>
                </a:path>
                <a:path w="1965960" h="1374775">
                  <a:moveTo>
                    <a:pt x="1437990" y="1297373"/>
                  </a:moveTo>
                  <a:lnTo>
                    <a:pt x="529237" y="1297373"/>
                  </a:lnTo>
                  <a:lnTo>
                    <a:pt x="531103" y="1301925"/>
                  </a:lnTo>
                  <a:lnTo>
                    <a:pt x="1434348" y="1301925"/>
                  </a:lnTo>
                  <a:lnTo>
                    <a:pt x="1437990" y="1297373"/>
                  </a:lnTo>
                  <a:close/>
                </a:path>
                <a:path w="1965960" h="1374775">
                  <a:moveTo>
                    <a:pt x="1450736" y="1292821"/>
                  </a:moveTo>
                  <a:lnTo>
                    <a:pt x="511074" y="1292821"/>
                  </a:lnTo>
                  <a:lnTo>
                    <a:pt x="518357" y="1297373"/>
                  </a:lnTo>
                  <a:lnTo>
                    <a:pt x="1439811" y="1297373"/>
                  </a:lnTo>
                  <a:lnTo>
                    <a:pt x="1450736" y="1292821"/>
                  </a:lnTo>
                  <a:close/>
                </a:path>
                <a:path w="1965960" h="1374775">
                  <a:moveTo>
                    <a:pt x="1459750" y="1288269"/>
                  </a:moveTo>
                  <a:lnTo>
                    <a:pt x="505702" y="1288269"/>
                  </a:lnTo>
                  <a:lnTo>
                    <a:pt x="507477" y="1292821"/>
                  </a:lnTo>
                  <a:lnTo>
                    <a:pt x="1457929" y="1292821"/>
                  </a:lnTo>
                  <a:lnTo>
                    <a:pt x="1459750" y="1288269"/>
                  </a:lnTo>
                  <a:close/>
                </a:path>
                <a:path w="1965960" h="1374775">
                  <a:moveTo>
                    <a:pt x="1472314" y="1283717"/>
                  </a:moveTo>
                  <a:lnTo>
                    <a:pt x="491363" y="1283717"/>
                  </a:lnTo>
                  <a:lnTo>
                    <a:pt x="494913" y="1288269"/>
                  </a:lnTo>
                  <a:lnTo>
                    <a:pt x="1470493" y="1288269"/>
                  </a:lnTo>
                  <a:lnTo>
                    <a:pt x="1472314" y="1283717"/>
                  </a:lnTo>
                  <a:close/>
                </a:path>
                <a:path w="1965960" h="1374775">
                  <a:moveTo>
                    <a:pt x="1484741" y="1279164"/>
                  </a:moveTo>
                  <a:lnTo>
                    <a:pt x="480711" y="1279164"/>
                  </a:lnTo>
                  <a:lnTo>
                    <a:pt x="489587" y="1283717"/>
                  </a:lnTo>
                  <a:lnTo>
                    <a:pt x="1475864" y="1283717"/>
                  </a:lnTo>
                  <a:lnTo>
                    <a:pt x="1484741" y="1279164"/>
                  </a:lnTo>
                  <a:close/>
                </a:path>
                <a:path w="1965960" h="1374775">
                  <a:moveTo>
                    <a:pt x="1493572" y="1274612"/>
                  </a:moveTo>
                  <a:lnTo>
                    <a:pt x="471879" y="1274612"/>
                  </a:lnTo>
                  <a:lnTo>
                    <a:pt x="473655" y="1279164"/>
                  </a:lnTo>
                  <a:lnTo>
                    <a:pt x="1491797" y="1279164"/>
                  </a:lnTo>
                  <a:lnTo>
                    <a:pt x="1493572" y="1274612"/>
                  </a:lnTo>
                  <a:close/>
                </a:path>
                <a:path w="1965960" h="1374775">
                  <a:moveTo>
                    <a:pt x="1504042" y="1270060"/>
                  </a:moveTo>
                  <a:lnTo>
                    <a:pt x="461364" y="1270060"/>
                  </a:lnTo>
                  <a:lnTo>
                    <a:pt x="463139" y="1274612"/>
                  </a:lnTo>
                  <a:lnTo>
                    <a:pt x="1500583" y="1274612"/>
                  </a:lnTo>
                  <a:lnTo>
                    <a:pt x="1504042" y="1270060"/>
                  </a:lnTo>
                  <a:close/>
                </a:path>
                <a:path w="1965960" h="1374775">
                  <a:moveTo>
                    <a:pt x="1514467" y="1265508"/>
                  </a:moveTo>
                  <a:lnTo>
                    <a:pt x="450939" y="1265508"/>
                  </a:lnTo>
                  <a:lnTo>
                    <a:pt x="452669" y="1270060"/>
                  </a:lnTo>
                  <a:lnTo>
                    <a:pt x="1512737" y="1270060"/>
                  </a:lnTo>
                  <a:lnTo>
                    <a:pt x="1514467" y="1265508"/>
                  </a:lnTo>
                  <a:close/>
                </a:path>
                <a:path w="1965960" h="1374775">
                  <a:moveTo>
                    <a:pt x="1524846" y="1260956"/>
                  </a:moveTo>
                  <a:lnTo>
                    <a:pt x="440606" y="1260956"/>
                  </a:lnTo>
                  <a:lnTo>
                    <a:pt x="442336" y="1265508"/>
                  </a:lnTo>
                  <a:lnTo>
                    <a:pt x="1523116" y="1265508"/>
                  </a:lnTo>
                  <a:lnTo>
                    <a:pt x="1524846" y="1260956"/>
                  </a:lnTo>
                  <a:close/>
                </a:path>
                <a:path w="1965960" h="1374775">
                  <a:moveTo>
                    <a:pt x="1536773" y="1256403"/>
                  </a:moveTo>
                  <a:lnTo>
                    <a:pt x="430363" y="1256403"/>
                  </a:lnTo>
                  <a:lnTo>
                    <a:pt x="432048" y="1260956"/>
                  </a:lnTo>
                  <a:lnTo>
                    <a:pt x="1533404" y="1260956"/>
                  </a:lnTo>
                  <a:lnTo>
                    <a:pt x="1536773" y="1256403"/>
                  </a:lnTo>
                  <a:close/>
                </a:path>
                <a:path w="1965960" h="1374775">
                  <a:moveTo>
                    <a:pt x="1550293" y="1251851"/>
                  </a:moveTo>
                  <a:lnTo>
                    <a:pt x="421851" y="1251851"/>
                  </a:lnTo>
                  <a:lnTo>
                    <a:pt x="423581" y="1256403"/>
                  </a:lnTo>
                  <a:lnTo>
                    <a:pt x="1538503" y="1256403"/>
                  </a:lnTo>
                  <a:lnTo>
                    <a:pt x="1550293" y="1251851"/>
                  </a:lnTo>
                  <a:close/>
                </a:path>
                <a:path w="1965960" h="1374775">
                  <a:moveTo>
                    <a:pt x="1555346" y="1247299"/>
                  </a:moveTo>
                  <a:lnTo>
                    <a:pt x="411790" y="1247299"/>
                  </a:lnTo>
                  <a:lnTo>
                    <a:pt x="413429" y="1251851"/>
                  </a:lnTo>
                  <a:lnTo>
                    <a:pt x="1551977" y="1251851"/>
                  </a:lnTo>
                  <a:lnTo>
                    <a:pt x="1555346" y="1247299"/>
                  </a:lnTo>
                  <a:close/>
                </a:path>
                <a:path w="1965960" h="1374775">
                  <a:moveTo>
                    <a:pt x="1561992" y="1242747"/>
                  </a:moveTo>
                  <a:lnTo>
                    <a:pt x="403414" y="1242747"/>
                  </a:lnTo>
                  <a:lnTo>
                    <a:pt x="405099" y="1247299"/>
                  </a:lnTo>
                  <a:lnTo>
                    <a:pt x="1560353" y="1247299"/>
                  </a:lnTo>
                  <a:lnTo>
                    <a:pt x="1561992" y="1242747"/>
                  </a:lnTo>
                  <a:close/>
                </a:path>
                <a:path w="1965960" h="1374775">
                  <a:moveTo>
                    <a:pt x="1581794" y="1233642"/>
                  </a:moveTo>
                  <a:lnTo>
                    <a:pt x="383658" y="1233642"/>
                  </a:lnTo>
                  <a:lnTo>
                    <a:pt x="395129" y="1242747"/>
                  </a:lnTo>
                  <a:lnTo>
                    <a:pt x="1566999" y="1242747"/>
                  </a:lnTo>
                  <a:lnTo>
                    <a:pt x="1571916" y="1238195"/>
                  </a:lnTo>
                  <a:lnTo>
                    <a:pt x="1573600" y="1238195"/>
                  </a:lnTo>
                  <a:lnTo>
                    <a:pt x="1581794" y="1233642"/>
                  </a:lnTo>
                  <a:close/>
                </a:path>
                <a:path w="1965960" h="1374775">
                  <a:moveTo>
                    <a:pt x="1588258" y="1229090"/>
                  </a:moveTo>
                  <a:lnTo>
                    <a:pt x="377148" y="1229090"/>
                  </a:lnTo>
                  <a:lnTo>
                    <a:pt x="378787" y="1233642"/>
                  </a:lnTo>
                  <a:lnTo>
                    <a:pt x="1586665" y="1233642"/>
                  </a:lnTo>
                  <a:lnTo>
                    <a:pt x="1588258" y="1229090"/>
                  </a:lnTo>
                  <a:close/>
                </a:path>
                <a:path w="1965960" h="1374775">
                  <a:moveTo>
                    <a:pt x="1596361" y="1224538"/>
                  </a:moveTo>
                  <a:lnTo>
                    <a:pt x="367498" y="1224538"/>
                  </a:lnTo>
                  <a:lnTo>
                    <a:pt x="370684" y="1229090"/>
                  </a:lnTo>
                  <a:lnTo>
                    <a:pt x="1594722" y="1229090"/>
                  </a:lnTo>
                  <a:lnTo>
                    <a:pt x="1596361" y="1224538"/>
                  </a:lnTo>
                  <a:close/>
                </a:path>
                <a:path w="1965960" h="1374775">
                  <a:moveTo>
                    <a:pt x="1612293" y="1215434"/>
                  </a:moveTo>
                  <a:lnTo>
                    <a:pt x="353158" y="1215434"/>
                  </a:lnTo>
                  <a:lnTo>
                    <a:pt x="354706" y="1219986"/>
                  </a:lnTo>
                  <a:lnTo>
                    <a:pt x="365859" y="1224538"/>
                  </a:lnTo>
                  <a:lnTo>
                    <a:pt x="1602779" y="1224538"/>
                  </a:lnTo>
                  <a:lnTo>
                    <a:pt x="1607559" y="1219986"/>
                  </a:lnTo>
                  <a:lnTo>
                    <a:pt x="1609107" y="1219986"/>
                  </a:lnTo>
                  <a:lnTo>
                    <a:pt x="1612293" y="1215434"/>
                  </a:lnTo>
                  <a:close/>
                </a:path>
                <a:path w="1965960" h="1374775">
                  <a:moveTo>
                    <a:pt x="1620169" y="1210882"/>
                  </a:moveTo>
                  <a:lnTo>
                    <a:pt x="345283" y="1210882"/>
                  </a:lnTo>
                  <a:lnTo>
                    <a:pt x="346831" y="1215434"/>
                  </a:lnTo>
                  <a:lnTo>
                    <a:pt x="1618576" y="1215434"/>
                  </a:lnTo>
                  <a:lnTo>
                    <a:pt x="1620169" y="1210882"/>
                  </a:lnTo>
                  <a:close/>
                </a:path>
                <a:path w="1965960" h="1374775">
                  <a:moveTo>
                    <a:pt x="1627953" y="1206329"/>
                  </a:moveTo>
                  <a:lnTo>
                    <a:pt x="337499" y="1206329"/>
                  </a:lnTo>
                  <a:lnTo>
                    <a:pt x="342142" y="1210882"/>
                  </a:lnTo>
                  <a:lnTo>
                    <a:pt x="1624858" y="1210882"/>
                  </a:lnTo>
                  <a:lnTo>
                    <a:pt x="1627953" y="1206329"/>
                  </a:lnTo>
                  <a:close/>
                </a:path>
                <a:path w="1965960" h="1374775">
                  <a:moveTo>
                    <a:pt x="1637239" y="1201777"/>
                  </a:moveTo>
                  <a:lnTo>
                    <a:pt x="326665" y="1201777"/>
                  </a:lnTo>
                  <a:lnTo>
                    <a:pt x="335951" y="1206329"/>
                  </a:lnTo>
                  <a:lnTo>
                    <a:pt x="1629501" y="1206329"/>
                  </a:lnTo>
                  <a:lnTo>
                    <a:pt x="1637239" y="1201777"/>
                  </a:lnTo>
                  <a:close/>
                </a:path>
                <a:path w="1965960" h="1374775">
                  <a:moveTo>
                    <a:pt x="1641792" y="1197225"/>
                  </a:moveTo>
                  <a:lnTo>
                    <a:pt x="323615" y="1197225"/>
                  </a:lnTo>
                  <a:lnTo>
                    <a:pt x="325162" y="1201777"/>
                  </a:lnTo>
                  <a:lnTo>
                    <a:pt x="1640289" y="1201777"/>
                  </a:lnTo>
                  <a:lnTo>
                    <a:pt x="1641792" y="1197225"/>
                  </a:lnTo>
                  <a:close/>
                </a:path>
                <a:path w="1965960" h="1374775">
                  <a:moveTo>
                    <a:pt x="1649394" y="1192673"/>
                  </a:moveTo>
                  <a:lnTo>
                    <a:pt x="316012" y="1192673"/>
                  </a:lnTo>
                  <a:lnTo>
                    <a:pt x="317560" y="1197225"/>
                  </a:lnTo>
                  <a:lnTo>
                    <a:pt x="1646389" y="1197225"/>
                  </a:lnTo>
                  <a:lnTo>
                    <a:pt x="1649394" y="1192673"/>
                  </a:lnTo>
                  <a:close/>
                </a:path>
                <a:path w="1965960" h="1374775">
                  <a:moveTo>
                    <a:pt x="1656950" y="1188121"/>
                  </a:moveTo>
                  <a:lnTo>
                    <a:pt x="308501" y="1188121"/>
                  </a:lnTo>
                  <a:lnTo>
                    <a:pt x="310004" y="1192673"/>
                  </a:lnTo>
                  <a:lnTo>
                    <a:pt x="1655448" y="1192673"/>
                  </a:lnTo>
                  <a:lnTo>
                    <a:pt x="1656950" y="1188121"/>
                  </a:lnTo>
                  <a:close/>
                </a:path>
                <a:path w="1965960" h="1374775">
                  <a:moveTo>
                    <a:pt x="1662914" y="1183568"/>
                  </a:moveTo>
                  <a:lnTo>
                    <a:pt x="302538" y="1183568"/>
                  </a:lnTo>
                  <a:lnTo>
                    <a:pt x="304040" y="1188121"/>
                  </a:lnTo>
                  <a:lnTo>
                    <a:pt x="1658407" y="1188121"/>
                  </a:lnTo>
                  <a:lnTo>
                    <a:pt x="1662914" y="1183568"/>
                  </a:lnTo>
                  <a:close/>
                </a:path>
                <a:path w="1965960" h="1374775">
                  <a:moveTo>
                    <a:pt x="1673202" y="1179016"/>
                  </a:moveTo>
                  <a:lnTo>
                    <a:pt x="295163" y="1179016"/>
                  </a:lnTo>
                  <a:lnTo>
                    <a:pt x="296620" y="1183568"/>
                  </a:lnTo>
                  <a:lnTo>
                    <a:pt x="1668832" y="1183568"/>
                  </a:lnTo>
                  <a:lnTo>
                    <a:pt x="1673202" y="1179016"/>
                  </a:lnTo>
                  <a:close/>
                </a:path>
                <a:path w="1965960" h="1374775">
                  <a:moveTo>
                    <a:pt x="1676161" y="1174464"/>
                  </a:moveTo>
                  <a:lnTo>
                    <a:pt x="289291" y="1174464"/>
                  </a:lnTo>
                  <a:lnTo>
                    <a:pt x="290748" y="1179016"/>
                  </a:lnTo>
                  <a:lnTo>
                    <a:pt x="1674704" y="1179016"/>
                  </a:lnTo>
                  <a:lnTo>
                    <a:pt x="1676161" y="1174464"/>
                  </a:lnTo>
                  <a:close/>
                </a:path>
                <a:path w="1965960" h="1374775">
                  <a:moveTo>
                    <a:pt x="1683399" y="1169912"/>
                  </a:moveTo>
                  <a:lnTo>
                    <a:pt x="282053" y="1169912"/>
                  </a:lnTo>
                  <a:lnTo>
                    <a:pt x="283464" y="1174464"/>
                  </a:lnTo>
                  <a:lnTo>
                    <a:pt x="1681942" y="1174464"/>
                  </a:lnTo>
                  <a:lnTo>
                    <a:pt x="1683399" y="1169912"/>
                  </a:lnTo>
                  <a:close/>
                </a:path>
                <a:path w="1965960" h="1374775">
                  <a:moveTo>
                    <a:pt x="1689134" y="1165360"/>
                  </a:moveTo>
                  <a:lnTo>
                    <a:pt x="276272" y="1165360"/>
                  </a:lnTo>
                  <a:lnTo>
                    <a:pt x="277728" y="1169912"/>
                  </a:lnTo>
                  <a:lnTo>
                    <a:pt x="1687723" y="1169912"/>
                  </a:lnTo>
                  <a:lnTo>
                    <a:pt x="1689134" y="1165360"/>
                  </a:lnTo>
                  <a:close/>
                </a:path>
                <a:path w="1965960" h="1374775">
                  <a:moveTo>
                    <a:pt x="1701881" y="1156255"/>
                  </a:moveTo>
                  <a:lnTo>
                    <a:pt x="262114" y="1156255"/>
                  </a:lnTo>
                  <a:lnTo>
                    <a:pt x="271993" y="1165360"/>
                  </a:lnTo>
                  <a:lnTo>
                    <a:pt x="1694825" y="1165360"/>
                  </a:lnTo>
                  <a:lnTo>
                    <a:pt x="1696281" y="1160807"/>
                  </a:lnTo>
                  <a:lnTo>
                    <a:pt x="1700515" y="1160807"/>
                  </a:lnTo>
                  <a:lnTo>
                    <a:pt x="1701881" y="1156255"/>
                  </a:lnTo>
                  <a:close/>
                </a:path>
                <a:path w="1965960" h="1374775">
                  <a:moveTo>
                    <a:pt x="1714399" y="1147151"/>
                  </a:moveTo>
                  <a:lnTo>
                    <a:pt x="251053" y="1147151"/>
                  </a:lnTo>
                  <a:lnTo>
                    <a:pt x="252418" y="1151703"/>
                  </a:lnTo>
                  <a:lnTo>
                    <a:pt x="255195" y="1151703"/>
                  </a:lnTo>
                  <a:lnTo>
                    <a:pt x="259338" y="1156255"/>
                  </a:lnTo>
                  <a:lnTo>
                    <a:pt x="1706114" y="1156255"/>
                  </a:lnTo>
                  <a:lnTo>
                    <a:pt x="1714399" y="1147151"/>
                  </a:lnTo>
                  <a:close/>
                </a:path>
                <a:path w="1965960" h="1374775">
                  <a:moveTo>
                    <a:pt x="1726644" y="1138047"/>
                  </a:moveTo>
                  <a:lnTo>
                    <a:pt x="240173" y="1138047"/>
                  </a:lnTo>
                  <a:lnTo>
                    <a:pt x="241493" y="1142599"/>
                  </a:lnTo>
                  <a:lnTo>
                    <a:pt x="242859" y="1142599"/>
                  </a:lnTo>
                  <a:lnTo>
                    <a:pt x="246956" y="1147151"/>
                  </a:lnTo>
                  <a:lnTo>
                    <a:pt x="1718496" y="1147151"/>
                  </a:lnTo>
                  <a:lnTo>
                    <a:pt x="1726644" y="1138047"/>
                  </a:lnTo>
                  <a:close/>
                </a:path>
                <a:path w="1965960" h="1374775">
                  <a:moveTo>
                    <a:pt x="1731971" y="1133494"/>
                  </a:moveTo>
                  <a:lnTo>
                    <a:pt x="234801" y="1133494"/>
                  </a:lnTo>
                  <a:lnTo>
                    <a:pt x="237442" y="1138047"/>
                  </a:lnTo>
                  <a:lnTo>
                    <a:pt x="1729330" y="1138047"/>
                  </a:lnTo>
                  <a:lnTo>
                    <a:pt x="1731971" y="1133494"/>
                  </a:lnTo>
                  <a:close/>
                </a:path>
                <a:path w="1965960" h="1374775">
                  <a:moveTo>
                    <a:pt x="1737297" y="1128942"/>
                  </a:moveTo>
                  <a:lnTo>
                    <a:pt x="228155" y="1128942"/>
                  </a:lnTo>
                  <a:lnTo>
                    <a:pt x="232116" y="1133494"/>
                  </a:lnTo>
                  <a:lnTo>
                    <a:pt x="1734656" y="1133494"/>
                  </a:lnTo>
                  <a:lnTo>
                    <a:pt x="1737297" y="1128942"/>
                  </a:lnTo>
                  <a:close/>
                </a:path>
                <a:path w="1965960" h="1374775">
                  <a:moveTo>
                    <a:pt x="1741211" y="1124390"/>
                  </a:moveTo>
                  <a:lnTo>
                    <a:pt x="224195" y="1124390"/>
                  </a:lnTo>
                  <a:lnTo>
                    <a:pt x="226835" y="1128942"/>
                  </a:lnTo>
                  <a:lnTo>
                    <a:pt x="1739891" y="1128942"/>
                  </a:lnTo>
                  <a:lnTo>
                    <a:pt x="1741211" y="1124390"/>
                  </a:lnTo>
                  <a:close/>
                </a:path>
                <a:path w="1965960" h="1374775">
                  <a:moveTo>
                    <a:pt x="1746446" y="1119838"/>
                  </a:moveTo>
                  <a:lnTo>
                    <a:pt x="219005" y="1119838"/>
                  </a:lnTo>
                  <a:lnTo>
                    <a:pt x="221600" y="1124390"/>
                  </a:lnTo>
                  <a:lnTo>
                    <a:pt x="1745126" y="1124390"/>
                  </a:lnTo>
                  <a:lnTo>
                    <a:pt x="1746446" y="1119838"/>
                  </a:lnTo>
                  <a:close/>
                </a:path>
                <a:path w="1965960" h="1374775">
                  <a:moveTo>
                    <a:pt x="1757964" y="1110733"/>
                  </a:moveTo>
                  <a:lnTo>
                    <a:pt x="207488" y="1110733"/>
                  </a:lnTo>
                  <a:lnTo>
                    <a:pt x="215136" y="1119838"/>
                  </a:lnTo>
                  <a:lnTo>
                    <a:pt x="1750316" y="1119838"/>
                  </a:lnTo>
                  <a:lnTo>
                    <a:pt x="1757964" y="1110733"/>
                  </a:lnTo>
                  <a:close/>
                </a:path>
                <a:path w="1965960" h="1374775">
                  <a:moveTo>
                    <a:pt x="1762971" y="1106181"/>
                  </a:moveTo>
                  <a:lnTo>
                    <a:pt x="202435" y="1106181"/>
                  </a:lnTo>
                  <a:lnTo>
                    <a:pt x="203710" y="1110733"/>
                  </a:lnTo>
                  <a:lnTo>
                    <a:pt x="1761742" y="1110733"/>
                  </a:lnTo>
                  <a:lnTo>
                    <a:pt x="1762971" y="1106181"/>
                  </a:lnTo>
                  <a:close/>
                </a:path>
                <a:path w="1965960" h="1374775">
                  <a:moveTo>
                    <a:pt x="1771666" y="1097077"/>
                  </a:moveTo>
                  <a:lnTo>
                    <a:pt x="193786" y="1097077"/>
                  </a:lnTo>
                  <a:lnTo>
                    <a:pt x="195015" y="1101629"/>
                  </a:lnTo>
                  <a:lnTo>
                    <a:pt x="197473" y="1101629"/>
                  </a:lnTo>
                  <a:lnTo>
                    <a:pt x="198703" y="1106181"/>
                  </a:lnTo>
                  <a:lnTo>
                    <a:pt x="1764246" y="1106181"/>
                  </a:lnTo>
                  <a:lnTo>
                    <a:pt x="1770437" y="1101629"/>
                  </a:lnTo>
                  <a:lnTo>
                    <a:pt x="1771666" y="1097077"/>
                  </a:lnTo>
                  <a:close/>
                </a:path>
                <a:path w="1965960" h="1374775">
                  <a:moveTo>
                    <a:pt x="1776536" y="1092525"/>
                  </a:moveTo>
                  <a:lnTo>
                    <a:pt x="188915" y="1092525"/>
                  </a:lnTo>
                  <a:lnTo>
                    <a:pt x="190099" y="1097077"/>
                  </a:lnTo>
                  <a:lnTo>
                    <a:pt x="1775307" y="1097077"/>
                  </a:lnTo>
                  <a:lnTo>
                    <a:pt x="1776536" y="1092525"/>
                  </a:lnTo>
                  <a:close/>
                </a:path>
                <a:path w="1965960" h="1374775">
                  <a:moveTo>
                    <a:pt x="1782545" y="1087972"/>
                  </a:moveTo>
                  <a:lnTo>
                    <a:pt x="184090" y="1087972"/>
                  </a:lnTo>
                  <a:lnTo>
                    <a:pt x="185274" y="1092525"/>
                  </a:lnTo>
                  <a:lnTo>
                    <a:pt x="1780178" y="1092525"/>
                  </a:lnTo>
                  <a:lnTo>
                    <a:pt x="1782545" y="1087972"/>
                  </a:lnTo>
                  <a:close/>
                </a:path>
                <a:path w="1965960" h="1374775">
                  <a:moveTo>
                    <a:pt x="1790830" y="1078868"/>
                  </a:moveTo>
                  <a:lnTo>
                    <a:pt x="174576" y="1078868"/>
                  </a:lnTo>
                  <a:lnTo>
                    <a:pt x="180494" y="1087972"/>
                  </a:lnTo>
                  <a:lnTo>
                    <a:pt x="1784958" y="1087972"/>
                  </a:lnTo>
                  <a:lnTo>
                    <a:pt x="1789692" y="1083420"/>
                  </a:lnTo>
                  <a:lnTo>
                    <a:pt x="1790830" y="1078868"/>
                  </a:lnTo>
                  <a:close/>
                </a:path>
                <a:path w="1965960" h="1374775">
                  <a:moveTo>
                    <a:pt x="1797795" y="1074316"/>
                  </a:moveTo>
                  <a:lnTo>
                    <a:pt x="169933" y="1074316"/>
                  </a:lnTo>
                  <a:lnTo>
                    <a:pt x="171071" y="1078868"/>
                  </a:lnTo>
                  <a:lnTo>
                    <a:pt x="1793197" y="1078868"/>
                  </a:lnTo>
                  <a:lnTo>
                    <a:pt x="1797795" y="1074316"/>
                  </a:lnTo>
                  <a:close/>
                </a:path>
                <a:path w="1965960" h="1374775">
                  <a:moveTo>
                    <a:pt x="1800117" y="1069764"/>
                  </a:moveTo>
                  <a:lnTo>
                    <a:pt x="165335" y="1069764"/>
                  </a:lnTo>
                  <a:lnTo>
                    <a:pt x="166473" y="1074316"/>
                  </a:lnTo>
                  <a:lnTo>
                    <a:pt x="1798979" y="1074316"/>
                  </a:lnTo>
                  <a:lnTo>
                    <a:pt x="1800117" y="1069764"/>
                  </a:lnTo>
                  <a:close/>
                </a:path>
                <a:path w="1965960" h="1374775">
                  <a:moveTo>
                    <a:pt x="1805761" y="1065212"/>
                  </a:moveTo>
                  <a:lnTo>
                    <a:pt x="161921" y="1065212"/>
                  </a:lnTo>
                  <a:lnTo>
                    <a:pt x="163059" y="1069764"/>
                  </a:lnTo>
                  <a:lnTo>
                    <a:pt x="1802393" y="1069764"/>
                  </a:lnTo>
                  <a:lnTo>
                    <a:pt x="1805761" y="1065212"/>
                  </a:lnTo>
                  <a:close/>
                </a:path>
                <a:path w="1965960" h="1374775">
                  <a:moveTo>
                    <a:pt x="1807992" y="1060659"/>
                  </a:moveTo>
                  <a:lnTo>
                    <a:pt x="155184" y="1060659"/>
                  </a:lnTo>
                  <a:lnTo>
                    <a:pt x="160783" y="1065212"/>
                  </a:lnTo>
                  <a:lnTo>
                    <a:pt x="1806900" y="1065212"/>
                  </a:lnTo>
                  <a:lnTo>
                    <a:pt x="1807992" y="1060659"/>
                  </a:lnTo>
                  <a:close/>
                </a:path>
                <a:path w="1965960" h="1374775">
                  <a:moveTo>
                    <a:pt x="1812453" y="1056107"/>
                  </a:moveTo>
                  <a:lnTo>
                    <a:pt x="151860" y="1056107"/>
                  </a:lnTo>
                  <a:lnTo>
                    <a:pt x="154091" y="1060659"/>
                  </a:lnTo>
                  <a:lnTo>
                    <a:pt x="1810223" y="1060659"/>
                  </a:lnTo>
                  <a:lnTo>
                    <a:pt x="1812453" y="1056107"/>
                  </a:lnTo>
                  <a:close/>
                </a:path>
                <a:path w="1965960" h="1374775">
                  <a:moveTo>
                    <a:pt x="1820101" y="1047003"/>
                  </a:moveTo>
                  <a:lnTo>
                    <a:pt x="144258" y="1047003"/>
                  </a:lnTo>
                  <a:lnTo>
                    <a:pt x="147536" y="1051555"/>
                  </a:lnTo>
                  <a:lnTo>
                    <a:pt x="148583" y="1051555"/>
                  </a:lnTo>
                  <a:lnTo>
                    <a:pt x="149675" y="1056107"/>
                  </a:lnTo>
                  <a:lnTo>
                    <a:pt x="1815731" y="1056107"/>
                  </a:lnTo>
                  <a:lnTo>
                    <a:pt x="1816823" y="1051555"/>
                  </a:lnTo>
                  <a:lnTo>
                    <a:pt x="1820101" y="1047003"/>
                  </a:lnTo>
                  <a:close/>
                </a:path>
                <a:path w="1965960" h="1374775">
                  <a:moveTo>
                    <a:pt x="1824380" y="1042451"/>
                  </a:moveTo>
                  <a:lnTo>
                    <a:pt x="140025" y="1042451"/>
                  </a:lnTo>
                  <a:lnTo>
                    <a:pt x="142119" y="1047003"/>
                  </a:lnTo>
                  <a:lnTo>
                    <a:pt x="1823287" y="1047003"/>
                  </a:lnTo>
                  <a:lnTo>
                    <a:pt x="1824380" y="1042451"/>
                  </a:lnTo>
                  <a:close/>
                </a:path>
                <a:path w="1965960" h="1374775">
                  <a:moveTo>
                    <a:pt x="1832756" y="1033346"/>
                  </a:moveTo>
                  <a:lnTo>
                    <a:pt x="133743" y="1033346"/>
                  </a:lnTo>
                  <a:lnTo>
                    <a:pt x="135791" y="1037898"/>
                  </a:lnTo>
                  <a:lnTo>
                    <a:pt x="137885" y="1042451"/>
                  </a:lnTo>
                  <a:lnTo>
                    <a:pt x="1826474" y="1042451"/>
                  </a:lnTo>
                  <a:lnTo>
                    <a:pt x="1829615" y="1037898"/>
                  </a:lnTo>
                  <a:lnTo>
                    <a:pt x="1830662" y="1037898"/>
                  </a:lnTo>
                  <a:lnTo>
                    <a:pt x="1832756" y="1033346"/>
                  </a:lnTo>
                  <a:close/>
                </a:path>
                <a:path w="1965960" h="1374775">
                  <a:moveTo>
                    <a:pt x="1835806" y="1028794"/>
                  </a:moveTo>
                  <a:lnTo>
                    <a:pt x="128599" y="1028794"/>
                  </a:lnTo>
                  <a:lnTo>
                    <a:pt x="132696" y="1033346"/>
                  </a:lnTo>
                  <a:lnTo>
                    <a:pt x="1834804" y="1033346"/>
                  </a:lnTo>
                  <a:lnTo>
                    <a:pt x="1835806" y="1028794"/>
                  </a:lnTo>
                  <a:close/>
                </a:path>
                <a:path w="1965960" h="1374775">
                  <a:moveTo>
                    <a:pt x="1846822" y="1015137"/>
                  </a:moveTo>
                  <a:lnTo>
                    <a:pt x="118584" y="1015137"/>
                  </a:lnTo>
                  <a:lnTo>
                    <a:pt x="120587" y="1019690"/>
                  </a:lnTo>
                  <a:lnTo>
                    <a:pt x="122544" y="1019690"/>
                  </a:lnTo>
                  <a:lnTo>
                    <a:pt x="124547" y="1024242"/>
                  </a:lnTo>
                  <a:lnTo>
                    <a:pt x="125549" y="1024242"/>
                  </a:lnTo>
                  <a:lnTo>
                    <a:pt x="126550" y="1028794"/>
                  </a:lnTo>
                  <a:lnTo>
                    <a:pt x="1837854" y="1028794"/>
                  </a:lnTo>
                  <a:lnTo>
                    <a:pt x="1840904" y="1024242"/>
                  </a:lnTo>
                  <a:lnTo>
                    <a:pt x="1845866" y="1019690"/>
                  </a:lnTo>
                  <a:lnTo>
                    <a:pt x="1846822" y="1015137"/>
                  </a:lnTo>
                  <a:close/>
                </a:path>
                <a:path w="1965960" h="1374775">
                  <a:moveTo>
                    <a:pt x="1855517" y="1006033"/>
                  </a:moveTo>
                  <a:lnTo>
                    <a:pt x="109935" y="1006033"/>
                  </a:lnTo>
                  <a:lnTo>
                    <a:pt x="116627" y="1015137"/>
                  </a:lnTo>
                  <a:lnTo>
                    <a:pt x="1849781" y="1015137"/>
                  </a:lnTo>
                  <a:lnTo>
                    <a:pt x="1855517" y="1006033"/>
                  </a:lnTo>
                  <a:close/>
                </a:path>
                <a:path w="1965960" h="1374775">
                  <a:moveTo>
                    <a:pt x="1858339" y="1001481"/>
                  </a:moveTo>
                  <a:lnTo>
                    <a:pt x="108068" y="1001481"/>
                  </a:lnTo>
                  <a:lnTo>
                    <a:pt x="108979" y="1006033"/>
                  </a:lnTo>
                  <a:lnTo>
                    <a:pt x="1856427" y="1006033"/>
                  </a:lnTo>
                  <a:lnTo>
                    <a:pt x="1858339" y="1001481"/>
                  </a:lnTo>
                  <a:close/>
                </a:path>
                <a:path w="1965960" h="1374775">
                  <a:moveTo>
                    <a:pt x="1860206" y="996929"/>
                  </a:moveTo>
                  <a:lnTo>
                    <a:pt x="105246" y="996929"/>
                  </a:lnTo>
                  <a:lnTo>
                    <a:pt x="106202" y="1001481"/>
                  </a:lnTo>
                  <a:lnTo>
                    <a:pt x="1859250" y="1001481"/>
                  </a:lnTo>
                  <a:lnTo>
                    <a:pt x="1860206" y="996929"/>
                  </a:lnTo>
                  <a:close/>
                </a:path>
                <a:path w="1965960" h="1374775">
                  <a:moveTo>
                    <a:pt x="1863847" y="992377"/>
                  </a:moveTo>
                  <a:lnTo>
                    <a:pt x="101559" y="992377"/>
                  </a:lnTo>
                  <a:lnTo>
                    <a:pt x="102469" y="996929"/>
                  </a:lnTo>
                  <a:lnTo>
                    <a:pt x="1862937" y="996929"/>
                  </a:lnTo>
                  <a:lnTo>
                    <a:pt x="1863847" y="992377"/>
                  </a:lnTo>
                  <a:close/>
                </a:path>
                <a:path w="1965960" h="1374775">
                  <a:moveTo>
                    <a:pt x="1866579" y="987824"/>
                  </a:moveTo>
                  <a:lnTo>
                    <a:pt x="98873" y="987824"/>
                  </a:lnTo>
                  <a:lnTo>
                    <a:pt x="99738" y="992377"/>
                  </a:lnTo>
                  <a:lnTo>
                    <a:pt x="1865668" y="992377"/>
                  </a:lnTo>
                  <a:lnTo>
                    <a:pt x="1866579" y="987824"/>
                  </a:lnTo>
                  <a:close/>
                </a:path>
                <a:path w="1965960" h="1374775">
                  <a:moveTo>
                    <a:pt x="1870129" y="983272"/>
                  </a:moveTo>
                  <a:lnTo>
                    <a:pt x="95277" y="983272"/>
                  </a:lnTo>
                  <a:lnTo>
                    <a:pt x="96187" y="987824"/>
                  </a:lnTo>
                  <a:lnTo>
                    <a:pt x="1869265" y="987824"/>
                  </a:lnTo>
                  <a:lnTo>
                    <a:pt x="1870129" y="983272"/>
                  </a:lnTo>
                  <a:close/>
                </a:path>
                <a:path w="1965960" h="1374775">
                  <a:moveTo>
                    <a:pt x="1873635" y="978720"/>
                  </a:moveTo>
                  <a:lnTo>
                    <a:pt x="92637" y="978720"/>
                  </a:lnTo>
                  <a:lnTo>
                    <a:pt x="93547" y="983272"/>
                  </a:lnTo>
                  <a:lnTo>
                    <a:pt x="1871905" y="983272"/>
                  </a:lnTo>
                  <a:lnTo>
                    <a:pt x="1873635" y="978720"/>
                  </a:lnTo>
                  <a:close/>
                </a:path>
                <a:path w="1965960" h="1374775">
                  <a:moveTo>
                    <a:pt x="1877094" y="974168"/>
                  </a:moveTo>
                  <a:lnTo>
                    <a:pt x="89177" y="974168"/>
                  </a:lnTo>
                  <a:lnTo>
                    <a:pt x="90907" y="978720"/>
                  </a:lnTo>
                  <a:lnTo>
                    <a:pt x="1874500" y="978720"/>
                  </a:lnTo>
                  <a:lnTo>
                    <a:pt x="1877094" y="974168"/>
                  </a:lnTo>
                  <a:close/>
                </a:path>
                <a:path w="1965960" h="1374775">
                  <a:moveTo>
                    <a:pt x="1878779" y="969616"/>
                  </a:moveTo>
                  <a:lnTo>
                    <a:pt x="86628" y="969616"/>
                  </a:lnTo>
                  <a:lnTo>
                    <a:pt x="87493" y="974168"/>
                  </a:lnTo>
                  <a:lnTo>
                    <a:pt x="1877959" y="974168"/>
                  </a:lnTo>
                  <a:lnTo>
                    <a:pt x="1878779" y="969616"/>
                  </a:lnTo>
                  <a:close/>
                </a:path>
                <a:path w="1965960" h="1374775">
                  <a:moveTo>
                    <a:pt x="1887837" y="955959"/>
                  </a:moveTo>
                  <a:lnTo>
                    <a:pt x="77569" y="955959"/>
                  </a:lnTo>
                  <a:lnTo>
                    <a:pt x="84943" y="969616"/>
                  </a:lnTo>
                  <a:lnTo>
                    <a:pt x="1881328" y="969616"/>
                  </a:lnTo>
                  <a:lnTo>
                    <a:pt x="1887064" y="960511"/>
                  </a:lnTo>
                  <a:lnTo>
                    <a:pt x="1887837" y="955959"/>
                  </a:lnTo>
                  <a:close/>
                </a:path>
                <a:path w="1965960" h="1374775">
                  <a:moveTo>
                    <a:pt x="1890250" y="951407"/>
                  </a:moveTo>
                  <a:lnTo>
                    <a:pt x="74428" y="951407"/>
                  </a:lnTo>
                  <a:lnTo>
                    <a:pt x="75976" y="955959"/>
                  </a:lnTo>
                  <a:lnTo>
                    <a:pt x="1889431" y="955959"/>
                  </a:lnTo>
                  <a:lnTo>
                    <a:pt x="1890250" y="951407"/>
                  </a:lnTo>
                  <a:close/>
                </a:path>
                <a:path w="1965960" h="1374775">
                  <a:moveTo>
                    <a:pt x="1892572" y="946855"/>
                  </a:moveTo>
                  <a:lnTo>
                    <a:pt x="72835" y="946855"/>
                  </a:lnTo>
                  <a:lnTo>
                    <a:pt x="73608" y="951407"/>
                  </a:lnTo>
                  <a:lnTo>
                    <a:pt x="1891798" y="951407"/>
                  </a:lnTo>
                  <a:lnTo>
                    <a:pt x="1892572" y="946855"/>
                  </a:lnTo>
                  <a:close/>
                </a:path>
                <a:path w="1965960" h="1374775">
                  <a:moveTo>
                    <a:pt x="1895667" y="942302"/>
                  </a:moveTo>
                  <a:lnTo>
                    <a:pt x="69785" y="942302"/>
                  </a:lnTo>
                  <a:lnTo>
                    <a:pt x="70558" y="946855"/>
                  </a:lnTo>
                  <a:lnTo>
                    <a:pt x="1894893" y="946855"/>
                  </a:lnTo>
                  <a:lnTo>
                    <a:pt x="1895667" y="942302"/>
                  </a:lnTo>
                  <a:close/>
                </a:path>
                <a:path w="1965960" h="1374775">
                  <a:moveTo>
                    <a:pt x="1897943" y="937750"/>
                  </a:moveTo>
                  <a:lnTo>
                    <a:pt x="67508" y="937750"/>
                  </a:lnTo>
                  <a:lnTo>
                    <a:pt x="68237" y="942302"/>
                  </a:lnTo>
                  <a:lnTo>
                    <a:pt x="1897169" y="942302"/>
                  </a:lnTo>
                  <a:lnTo>
                    <a:pt x="1897943" y="937750"/>
                  </a:lnTo>
                  <a:close/>
                </a:path>
                <a:path w="1965960" h="1374775">
                  <a:moveTo>
                    <a:pt x="1900902" y="933198"/>
                  </a:moveTo>
                  <a:lnTo>
                    <a:pt x="64550" y="933198"/>
                  </a:lnTo>
                  <a:lnTo>
                    <a:pt x="65278" y="937750"/>
                  </a:lnTo>
                  <a:lnTo>
                    <a:pt x="1900174" y="937750"/>
                  </a:lnTo>
                  <a:lnTo>
                    <a:pt x="1900902" y="933198"/>
                  </a:lnTo>
                  <a:close/>
                </a:path>
                <a:path w="1965960" h="1374775">
                  <a:moveTo>
                    <a:pt x="1903087" y="928646"/>
                  </a:moveTo>
                  <a:lnTo>
                    <a:pt x="62364" y="928646"/>
                  </a:lnTo>
                  <a:lnTo>
                    <a:pt x="63093" y="933198"/>
                  </a:lnTo>
                  <a:lnTo>
                    <a:pt x="1902359" y="933198"/>
                  </a:lnTo>
                  <a:lnTo>
                    <a:pt x="1903087" y="928646"/>
                  </a:lnTo>
                  <a:close/>
                </a:path>
                <a:path w="1965960" h="1374775">
                  <a:moveTo>
                    <a:pt x="1905227" y="924094"/>
                  </a:moveTo>
                  <a:lnTo>
                    <a:pt x="60225" y="924094"/>
                  </a:lnTo>
                  <a:lnTo>
                    <a:pt x="60908" y="928646"/>
                  </a:lnTo>
                  <a:lnTo>
                    <a:pt x="1904498" y="928646"/>
                  </a:lnTo>
                  <a:lnTo>
                    <a:pt x="1905227" y="924094"/>
                  </a:lnTo>
                  <a:close/>
                </a:path>
                <a:path w="1965960" h="1374775">
                  <a:moveTo>
                    <a:pt x="1912101" y="910437"/>
                  </a:moveTo>
                  <a:lnTo>
                    <a:pt x="53306" y="910437"/>
                  </a:lnTo>
                  <a:lnTo>
                    <a:pt x="57403" y="919542"/>
                  </a:lnTo>
                  <a:lnTo>
                    <a:pt x="58085" y="924094"/>
                  </a:lnTo>
                  <a:lnTo>
                    <a:pt x="1907321" y="924094"/>
                  </a:lnTo>
                  <a:lnTo>
                    <a:pt x="1908049" y="919542"/>
                  </a:lnTo>
                  <a:lnTo>
                    <a:pt x="1911463" y="914989"/>
                  </a:lnTo>
                  <a:lnTo>
                    <a:pt x="1912101" y="910437"/>
                  </a:lnTo>
                  <a:close/>
                </a:path>
                <a:path w="1965960" h="1374775">
                  <a:moveTo>
                    <a:pt x="1914741" y="905885"/>
                  </a:moveTo>
                  <a:lnTo>
                    <a:pt x="50665" y="905885"/>
                  </a:lnTo>
                  <a:lnTo>
                    <a:pt x="51348" y="910437"/>
                  </a:lnTo>
                  <a:lnTo>
                    <a:pt x="1913466" y="910437"/>
                  </a:lnTo>
                  <a:lnTo>
                    <a:pt x="1914741" y="905885"/>
                  </a:lnTo>
                  <a:close/>
                </a:path>
                <a:path w="1965960" h="1374775">
                  <a:moveTo>
                    <a:pt x="1919248" y="896781"/>
                  </a:moveTo>
                  <a:lnTo>
                    <a:pt x="45567" y="896781"/>
                  </a:lnTo>
                  <a:lnTo>
                    <a:pt x="49391" y="905885"/>
                  </a:lnTo>
                  <a:lnTo>
                    <a:pt x="1916061" y="905885"/>
                  </a:lnTo>
                  <a:lnTo>
                    <a:pt x="1919248" y="896781"/>
                  </a:lnTo>
                  <a:close/>
                </a:path>
                <a:path w="1965960" h="1374775">
                  <a:moveTo>
                    <a:pt x="1922889" y="887676"/>
                  </a:moveTo>
                  <a:lnTo>
                    <a:pt x="42562" y="887676"/>
                  </a:lnTo>
                  <a:lnTo>
                    <a:pt x="44338" y="892228"/>
                  </a:lnTo>
                  <a:lnTo>
                    <a:pt x="44975" y="896781"/>
                  </a:lnTo>
                  <a:lnTo>
                    <a:pt x="1920477" y="896781"/>
                  </a:lnTo>
                  <a:lnTo>
                    <a:pt x="1921068" y="892228"/>
                  </a:lnTo>
                  <a:lnTo>
                    <a:pt x="1921706" y="892228"/>
                  </a:lnTo>
                  <a:lnTo>
                    <a:pt x="1922889" y="887676"/>
                  </a:lnTo>
                  <a:close/>
                </a:path>
                <a:path w="1965960" h="1374775">
                  <a:moveTo>
                    <a:pt x="1924665" y="883124"/>
                  </a:moveTo>
                  <a:lnTo>
                    <a:pt x="40742" y="883124"/>
                  </a:lnTo>
                  <a:lnTo>
                    <a:pt x="41925" y="887676"/>
                  </a:lnTo>
                  <a:lnTo>
                    <a:pt x="1923481" y="887676"/>
                  </a:lnTo>
                  <a:lnTo>
                    <a:pt x="1924665" y="883124"/>
                  </a:lnTo>
                  <a:close/>
                </a:path>
                <a:path w="1965960" h="1374775">
                  <a:moveTo>
                    <a:pt x="1926986" y="878572"/>
                  </a:moveTo>
                  <a:lnTo>
                    <a:pt x="38465" y="878572"/>
                  </a:lnTo>
                  <a:lnTo>
                    <a:pt x="39012" y="883124"/>
                  </a:lnTo>
                  <a:lnTo>
                    <a:pt x="1926394" y="883124"/>
                  </a:lnTo>
                  <a:lnTo>
                    <a:pt x="1926986" y="878572"/>
                  </a:lnTo>
                  <a:close/>
                </a:path>
                <a:path w="1965960" h="1374775">
                  <a:moveTo>
                    <a:pt x="1928671" y="874020"/>
                  </a:moveTo>
                  <a:lnTo>
                    <a:pt x="36781" y="874020"/>
                  </a:lnTo>
                  <a:lnTo>
                    <a:pt x="37327" y="878572"/>
                  </a:lnTo>
                  <a:lnTo>
                    <a:pt x="1928124" y="878572"/>
                  </a:lnTo>
                  <a:lnTo>
                    <a:pt x="1928671" y="874020"/>
                  </a:lnTo>
                  <a:close/>
                </a:path>
                <a:path w="1965960" h="1374775">
                  <a:moveTo>
                    <a:pt x="1930309" y="869467"/>
                  </a:moveTo>
                  <a:lnTo>
                    <a:pt x="35097" y="869467"/>
                  </a:lnTo>
                  <a:lnTo>
                    <a:pt x="35643" y="874020"/>
                  </a:lnTo>
                  <a:lnTo>
                    <a:pt x="1929763" y="874020"/>
                  </a:lnTo>
                  <a:lnTo>
                    <a:pt x="1930309" y="869467"/>
                  </a:lnTo>
                  <a:close/>
                </a:path>
                <a:path w="1965960" h="1374775">
                  <a:moveTo>
                    <a:pt x="1932494" y="864915"/>
                  </a:moveTo>
                  <a:lnTo>
                    <a:pt x="32957" y="864915"/>
                  </a:lnTo>
                  <a:lnTo>
                    <a:pt x="33504" y="869467"/>
                  </a:lnTo>
                  <a:lnTo>
                    <a:pt x="1931948" y="869467"/>
                  </a:lnTo>
                  <a:lnTo>
                    <a:pt x="1932494" y="864915"/>
                  </a:lnTo>
                  <a:close/>
                </a:path>
                <a:path w="1965960" h="1374775">
                  <a:moveTo>
                    <a:pt x="1934042" y="860363"/>
                  </a:moveTo>
                  <a:lnTo>
                    <a:pt x="31410" y="860363"/>
                  </a:lnTo>
                  <a:lnTo>
                    <a:pt x="32411" y="864915"/>
                  </a:lnTo>
                  <a:lnTo>
                    <a:pt x="1933541" y="864915"/>
                  </a:lnTo>
                  <a:lnTo>
                    <a:pt x="1934042" y="860363"/>
                  </a:lnTo>
                  <a:close/>
                </a:path>
                <a:path w="1965960" h="1374775">
                  <a:moveTo>
                    <a:pt x="1935590" y="855811"/>
                  </a:moveTo>
                  <a:lnTo>
                    <a:pt x="29862" y="855811"/>
                  </a:lnTo>
                  <a:lnTo>
                    <a:pt x="30863" y="860363"/>
                  </a:lnTo>
                  <a:lnTo>
                    <a:pt x="1935089" y="860363"/>
                  </a:lnTo>
                  <a:lnTo>
                    <a:pt x="1935590" y="855811"/>
                  </a:lnTo>
                  <a:close/>
                </a:path>
                <a:path w="1965960" h="1374775">
                  <a:moveTo>
                    <a:pt x="1937047" y="851259"/>
                  </a:moveTo>
                  <a:lnTo>
                    <a:pt x="27859" y="851259"/>
                  </a:lnTo>
                  <a:lnTo>
                    <a:pt x="29361" y="855811"/>
                  </a:lnTo>
                  <a:lnTo>
                    <a:pt x="1936591" y="855811"/>
                  </a:lnTo>
                  <a:lnTo>
                    <a:pt x="1937047" y="851259"/>
                  </a:lnTo>
                  <a:close/>
                </a:path>
                <a:path w="1965960" h="1374775">
                  <a:moveTo>
                    <a:pt x="1939004" y="846706"/>
                  </a:moveTo>
                  <a:lnTo>
                    <a:pt x="26448" y="846706"/>
                  </a:lnTo>
                  <a:lnTo>
                    <a:pt x="26903" y="851259"/>
                  </a:lnTo>
                  <a:lnTo>
                    <a:pt x="1938503" y="851259"/>
                  </a:lnTo>
                  <a:lnTo>
                    <a:pt x="1939004" y="846706"/>
                  </a:lnTo>
                  <a:close/>
                </a:path>
                <a:path w="1965960" h="1374775">
                  <a:moveTo>
                    <a:pt x="1943101" y="833050"/>
                  </a:moveTo>
                  <a:lnTo>
                    <a:pt x="22351" y="833050"/>
                  </a:lnTo>
                  <a:lnTo>
                    <a:pt x="22760" y="837602"/>
                  </a:lnTo>
                  <a:lnTo>
                    <a:pt x="25037" y="842154"/>
                  </a:lnTo>
                  <a:lnTo>
                    <a:pt x="25492" y="846706"/>
                  </a:lnTo>
                  <a:lnTo>
                    <a:pt x="1939914" y="846706"/>
                  </a:lnTo>
                  <a:lnTo>
                    <a:pt x="1940415" y="842154"/>
                  </a:lnTo>
                  <a:lnTo>
                    <a:pt x="1942236" y="837602"/>
                  </a:lnTo>
                  <a:lnTo>
                    <a:pt x="1942646" y="837602"/>
                  </a:lnTo>
                  <a:lnTo>
                    <a:pt x="1943101" y="833050"/>
                  </a:lnTo>
                  <a:close/>
                </a:path>
                <a:path w="1965960" h="1374775">
                  <a:moveTo>
                    <a:pt x="1944376" y="828498"/>
                  </a:moveTo>
                  <a:lnTo>
                    <a:pt x="21031" y="828498"/>
                  </a:lnTo>
                  <a:lnTo>
                    <a:pt x="21486" y="833050"/>
                  </a:lnTo>
                  <a:lnTo>
                    <a:pt x="1943966" y="833050"/>
                  </a:lnTo>
                  <a:lnTo>
                    <a:pt x="1944376" y="828498"/>
                  </a:lnTo>
                  <a:close/>
                </a:path>
                <a:path w="1965960" h="1374775">
                  <a:moveTo>
                    <a:pt x="1946060" y="823946"/>
                  </a:moveTo>
                  <a:lnTo>
                    <a:pt x="19392" y="823946"/>
                  </a:lnTo>
                  <a:lnTo>
                    <a:pt x="19802" y="828498"/>
                  </a:lnTo>
                  <a:lnTo>
                    <a:pt x="1945650" y="828498"/>
                  </a:lnTo>
                  <a:lnTo>
                    <a:pt x="1946060" y="823946"/>
                  </a:lnTo>
                  <a:close/>
                </a:path>
                <a:path w="1965960" h="1374775">
                  <a:moveTo>
                    <a:pt x="1947653" y="819393"/>
                  </a:moveTo>
                  <a:lnTo>
                    <a:pt x="18208" y="819393"/>
                  </a:lnTo>
                  <a:lnTo>
                    <a:pt x="18572" y="823946"/>
                  </a:lnTo>
                  <a:lnTo>
                    <a:pt x="1946834" y="823946"/>
                  </a:lnTo>
                  <a:lnTo>
                    <a:pt x="1947653" y="819393"/>
                  </a:lnTo>
                  <a:close/>
                </a:path>
                <a:path w="1965960" h="1374775">
                  <a:moveTo>
                    <a:pt x="1949884" y="810289"/>
                  </a:moveTo>
                  <a:lnTo>
                    <a:pt x="15522" y="810289"/>
                  </a:lnTo>
                  <a:lnTo>
                    <a:pt x="16251" y="814841"/>
                  </a:lnTo>
                  <a:lnTo>
                    <a:pt x="16661" y="814841"/>
                  </a:lnTo>
                  <a:lnTo>
                    <a:pt x="17389" y="819393"/>
                  </a:lnTo>
                  <a:lnTo>
                    <a:pt x="1948017" y="819393"/>
                  </a:lnTo>
                  <a:lnTo>
                    <a:pt x="1948427" y="814841"/>
                  </a:lnTo>
                  <a:lnTo>
                    <a:pt x="1949884" y="810289"/>
                  </a:lnTo>
                  <a:close/>
                </a:path>
                <a:path w="1965960" h="1374775">
                  <a:moveTo>
                    <a:pt x="1951340" y="805737"/>
                  </a:moveTo>
                  <a:lnTo>
                    <a:pt x="14475" y="805737"/>
                  </a:lnTo>
                  <a:lnTo>
                    <a:pt x="14794" y="810289"/>
                  </a:lnTo>
                  <a:lnTo>
                    <a:pt x="1950248" y="810289"/>
                  </a:lnTo>
                  <a:lnTo>
                    <a:pt x="1951340" y="805737"/>
                  </a:lnTo>
                  <a:close/>
                </a:path>
                <a:path w="1965960" h="1374775">
                  <a:moveTo>
                    <a:pt x="1952023" y="801185"/>
                  </a:moveTo>
                  <a:lnTo>
                    <a:pt x="13428" y="801185"/>
                  </a:lnTo>
                  <a:lnTo>
                    <a:pt x="13747" y="805737"/>
                  </a:lnTo>
                  <a:lnTo>
                    <a:pt x="1951659" y="805737"/>
                  </a:lnTo>
                  <a:lnTo>
                    <a:pt x="1952023" y="801185"/>
                  </a:lnTo>
                  <a:close/>
                </a:path>
                <a:path w="1965960" h="1374775">
                  <a:moveTo>
                    <a:pt x="1953025" y="796632"/>
                  </a:moveTo>
                  <a:lnTo>
                    <a:pt x="12108" y="796632"/>
                  </a:lnTo>
                  <a:lnTo>
                    <a:pt x="13064" y="801185"/>
                  </a:lnTo>
                  <a:lnTo>
                    <a:pt x="1952661" y="801185"/>
                  </a:lnTo>
                  <a:lnTo>
                    <a:pt x="1953025" y="796632"/>
                  </a:lnTo>
                  <a:close/>
                </a:path>
                <a:path w="1965960" h="1374775">
                  <a:moveTo>
                    <a:pt x="1954299" y="792080"/>
                  </a:moveTo>
                  <a:lnTo>
                    <a:pt x="11152" y="792080"/>
                  </a:lnTo>
                  <a:lnTo>
                    <a:pt x="11790" y="796632"/>
                  </a:lnTo>
                  <a:lnTo>
                    <a:pt x="1953662" y="796632"/>
                  </a:lnTo>
                  <a:lnTo>
                    <a:pt x="1954299" y="792080"/>
                  </a:lnTo>
                  <a:close/>
                </a:path>
                <a:path w="1965960" h="1374775">
                  <a:moveTo>
                    <a:pt x="1955210" y="787528"/>
                  </a:moveTo>
                  <a:lnTo>
                    <a:pt x="10561" y="787528"/>
                  </a:lnTo>
                  <a:lnTo>
                    <a:pt x="10834" y="792080"/>
                  </a:lnTo>
                  <a:lnTo>
                    <a:pt x="1954573" y="792080"/>
                  </a:lnTo>
                  <a:lnTo>
                    <a:pt x="1955210" y="787528"/>
                  </a:lnTo>
                  <a:close/>
                </a:path>
                <a:path w="1965960" h="1374775">
                  <a:moveTo>
                    <a:pt x="1957668" y="773871"/>
                  </a:moveTo>
                  <a:lnTo>
                    <a:pt x="7738" y="773871"/>
                  </a:lnTo>
                  <a:lnTo>
                    <a:pt x="9650" y="787528"/>
                  </a:lnTo>
                  <a:lnTo>
                    <a:pt x="1955756" y="787528"/>
                  </a:lnTo>
                  <a:lnTo>
                    <a:pt x="1956075" y="782976"/>
                  </a:lnTo>
                  <a:lnTo>
                    <a:pt x="1957440" y="778424"/>
                  </a:lnTo>
                  <a:lnTo>
                    <a:pt x="1957668" y="773871"/>
                  </a:lnTo>
                  <a:close/>
                </a:path>
                <a:path w="1965960" h="1374775">
                  <a:moveTo>
                    <a:pt x="1958669" y="769319"/>
                  </a:moveTo>
                  <a:lnTo>
                    <a:pt x="7010" y="769319"/>
                  </a:lnTo>
                  <a:lnTo>
                    <a:pt x="7237" y="773871"/>
                  </a:lnTo>
                  <a:lnTo>
                    <a:pt x="1958214" y="773871"/>
                  </a:lnTo>
                  <a:lnTo>
                    <a:pt x="1958669" y="769319"/>
                  </a:lnTo>
                  <a:close/>
                </a:path>
                <a:path w="1965960" h="1374775">
                  <a:moveTo>
                    <a:pt x="1959853" y="760215"/>
                  </a:moveTo>
                  <a:lnTo>
                    <a:pt x="5371" y="760215"/>
                  </a:lnTo>
                  <a:lnTo>
                    <a:pt x="6737" y="769319"/>
                  </a:lnTo>
                  <a:lnTo>
                    <a:pt x="1958943" y="769319"/>
                  </a:lnTo>
                  <a:lnTo>
                    <a:pt x="1959853" y="760215"/>
                  </a:lnTo>
                  <a:close/>
                </a:path>
                <a:path w="1965960" h="1374775">
                  <a:moveTo>
                    <a:pt x="1960855" y="755663"/>
                  </a:moveTo>
                  <a:lnTo>
                    <a:pt x="4779" y="755663"/>
                  </a:lnTo>
                  <a:lnTo>
                    <a:pt x="4961" y="760215"/>
                  </a:lnTo>
                  <a:lnTo>
                    <a:pt x="1960490" y="760215"/>
                  </a:lnTo>
                  <a:lnTo>
                    <a:pt x="1960855" y="755663"/>
                  </a:lnTo>
                  <a:close/>
                </a:path>
                <a:path w="1965960" h="1374775">
                  <a:moveTo>
                    <a:pt x="1962311" y="742006"/>
                  </a:moveTo>
                  <a:lnTo>
                    <a:pt x="3095" y="742006"/>
                  </a:lnTo>
                  <a:lnTo>
                    <a:pt x="4552" y="755663"/>
                  </a:lnTo>
                  <a:lnTo>
                    <a:pt x="1961082" y="755663"/>
                  </a:lnTo>
                  <a:lnTo>
                    <a:pt x="1962175" y="746558"/>
                  </a:lnTo>
                  <a:lnTo>
                    <a:pt x="1962311" y="742006"/>
                  </a:lnTo>
                  <a:close/>
                </a:path>
                <a:path w="1965960" h="1374775">
                  <a:moveTo>
                    <a:pt x="1963722" y="728350"/>
                  </a:moveTo>
                  <a:lnTo>
                    <a:pt x="1684" y="728350"/>
                  </a:lnTo>
                  <a:lnTo>
                    <a:pt x="2776" y="742006"/>
                  </a:lnTo>
                  <a:lnTo>
                    <a:pt x="1962630" y="742006"/>
                  </a:lnTo>
                  <a:lnTo>
                    <a:pt x="1962812" y="737454"/>
                  </a:lnTo>
                  <a:lnTo>
                    <a:pt x="1963631" y="732902"/>
                  </a:lnTo>
                  <a:lnTo>
                    <a:pt x="1963722" y="728350"/>
                  </a:lnTo>
                  <a:close/>
                </a:path>
                <a:path w="1965960" h="1374775">
                  <a:moveTo>
                    <a:pt x="1964178" y="723797"/>
                  </a:moveTo>
                  <a:lnTo>
                    <a:pt x="1365" y="723797"/>
                  </a:lnTo>
                  <a:lnTo>
                    <a:pt x="1456" y="728350"/>
                  </a:lnTo>
                  <a:lnTo>
                    <a:pt x="1963996" y="728350"/>
                  </a:lnTo>
                  <a:lnTo>
                    <a:pt x="1964178" y="723797"/>
                  </a:lnTo>
                  <a:close/>
                </a:path>
                <a:path w="1965960" h="1374775">
                  <a:moveTo>
                    <a:pt x="1964633" y="714693"/>
                  </a:moveTo>
                  <a:lnTo>
                    <a:pt x="682" y="714693"/>
                  </a:lnTo>
                  <a:lnTo>
                    <a:pt x="1229" y="723797"/>
                  </a:lnTo>
                  <a:lnTo>
                    <a:pt x="1964314" y="723797"/>
                  </a:lnTo>
                  <a:lnTo>
                    <a:pt x="1964587" y="719245"/>
                  </a:lnTo>
                  <a:lnTo>
                    <a:pt x="1964633" y="714693"/>
                  </a:lnTo>
                  <a:close/>
                </a:path>
                <a:path w="1965960" h="1374775">
                  <a:moveTo>
                    <a:pt x="1964860" y="710141"/>
                  </a:moveTo>
                  <a:lnTo>
                    <a:pt x="546" y="710141"/>
                  </a:lnTo>
                  <a:lnTo>
                    <a:pt x="637" y="714693"/>
                  </a:lnTo>
                  <a:lnTo>
                    <a:pt x="1964815" y="714693"/>
                  </a:lnTo>
                  <a:lnTo>
                    <a:pt x="1964860" y="710141"/>
                  </a:lnTo>
                  <a:close/>
                </a:path>
                <a:path w="1965960" h="1374775">
                  <a:moveTo>
                    <a:pt x="1965361" y="696484"/>
                  </a:moveTo>
                  <a:lnTo>
                    <a:pt x="91" y="696484"/>
                  </a:lnTo>
                  <a:lnTo>
                    <a:pt x="91" y="701036"/>
                  </a:lnTo>
                  <a:lnTo>
                    <a:pt x="409" y="710141"/>
                  </a:lnTo>
                  <a:lnTo>
                    <a:pt x="1964997" y="710141"/>
                  </a:lnTo>
                  <a:lnTo>
                    <a:pt x="1965088" y="705589"/>
                  </a:lnTo>
                  <a:lnTo>
                    <a:pt x="1965316" y="701036"/>
                  </a:lnTo>
                  <a:lnTo>
                    <a:pt x="1965361" y="696484"/>
                  </a:lnTo>
                  <a:close/>
                </a:path>
                <a:path w="1965960" h="1374775">
                  <a:moveTo>
                    <a:pt x="1965407" y="682828"/>
                  </a:moveTo>
                  <a:lnTo>
                    <a:pt x="0" y="682828"/>
                  </a:lnTo>
                  <a:lnTo>
                    <a:pt x="45" y="696484"/>
                  </a:lnTo>
                  <a:lnTo>
                    <a:pt x="1965407" y="696484"/>
                  </a:lnTo>
                  <a:lnTo>
                    <a:pt x="1965452" y="691932"/>
                  </a:lnTo>
                  <a:lnTo>
                    <a:pt x="1965407" y="687380"/>
                  </a:lnTo>
                  <a:lnTo>
                    <a:pt x="1965407" y="682828"/>
                  </a:lnTo>
                  <a:close/>
                </a:path>
                <a:path w="1965960" h="1374775">
                  <a:moveTo>
                    <a:pt x="1965088" y="669171"/>
                  </a:moveTo>
                  <a:lnTo>
                    <a:pt x="409" y="669171"/>
                  </a:lnTo>
                  <a:lnTo>
                    <a:pt x="91" y="678276"/>
                  </a:lnTo>
                  <a:lnTo>
                    <a:pt x="45" y="682828"/>
                  </a:lnTo>
                  <a:lnTo>
                    <a:pt x="1965361" y="682828"/>
                  </a:lnTo>
                  <a:lnTo>
                    <a:pt x="1965316" y="678276"/>
                  </a:lnTo>
                  <a:lnTo>
                    <a:pt x="1965088" y="669171"/>
                  </a:lnTo>
                  <a:close/>
                </a:path>
                <a:path w="1965960" h="1374775">
                  <a:moveTo>
                    <a:pt x="1964860" y="664619"/>
                  </a:moveTo>
                  <a:lnTo>
                    <a:pt x="546" y="664619"/>
                  </a:lnTo>
                  <a:lnTo>
                    <a:pt x="500" y="669171"/>
                  </a:lnTo>
                  <a:lnTo>
                    <a:pt x="1964952" y="669171"/>
                  </a:lnTo>
                  <a:lnTo>
                    <a:pt x="1964860" y="664619"/>
                  </a:lnTo>
                  <a:close/>
                </a:path>
                <a:path w="1965960" h="1374775">
                  <a:moveTo>
                    <a:pt x="1963996" y="650962"/>
                  </a:moveTo>
                  <a:lnTo>
                    <a:pt x="1365" y="650962"/>
                  </a:lnTo>
                  <a:lnTo>
                    <a:pt x="1229" y="655515"/>
                  </a:lnTo>
                  <a:lnTo>
                    <a:pt x="682" y="664619"/>
                  </a:lnTo>
                  <a:lnTo>
                    <a:pt x="1964815" y="664619"/>
                  </a:lnTo>
                  <a:lnTo>
                    <a:pt x="1964633" y="660067"/>
                  </a:lnTo>
                  <a:lnTo>
                    <a:pt x="1964314" y="655515"/>
                  </a:lnTo>
                  <a:lnTo>
                    <a:pt x="1964178" y="655515"/>
                  </a:lnTo>
                  <a:lnTo>
                    <a:pt x="1963996" y="650962"/>
                  </a:lnTo>
                  <a:close/>
                </a:path>
                <a:path w="1965960" h="1374775">
                  <a:moveTo>
                    <a:pt x="1962812" y="637306"/>
                  </a:moveTo>
                  <a:lnTo>
                    <a:pt x="2776" y="637306"/>
                  </a:lnTo>
                  <a:lnTo>
                    <a:pt x="1684" y="650962"/>
                  </a:lnTo>
                  <a:lnTo>
                    <a:pt x="1963722" y="650962"/>
                  </a:lnTo>
                  <a:lnTo>
                    <a:pt x="1963631" y="646410"/>
                  </a:lnTo>
                  <a:lnTo>
                    <a:pt x="1962812" y="637306"/>
                  </a:lnTo>
                  <a:close/>
                </a:path>
                <a:path w="1965960" h="1374775">
                  <a:moveTo>
                    <a:pt x="1961082" y="623649"/>
                  </a:moveTo>
                  <a:lnTo>
                    <a:pt x="4552" y="623649"/>
                  </a:lnTo>
                  <a:lnTo>
                    <a:pt x="3095" y="632754"/>
                  </a:lnTo>
                  <a:lnTo>
                    <a:pt x="2958" y="637306"/>
                  </a:lnTo>
                  <a:lnTo>
                    <a:pt x="1962493" y="637306"/>
                  </a:lnTo>
                  <a:lnTo>
                    <a:pt x="1962311" y="632754"/>
                  </a:lnTo>
                  <a:lnTo>
                    <a:pt x="1962175" y="632754"/>
                  </a:lnTo>
                  <a:lnTo>
                    <a:pt x="1961082" y="623649"/>
                  </a:lnTo>
                  <a:close/>
                </a:path>
                <a:path w="1965960" h="1374775">
                  <a:moveTo>
                    <a:pt x="1960490" y="619097"/>
                  </a:moveTo>
                  <a:lnTo>
                    <a:pt x="4961" y="619097"/>
                  </a:lnTo>
                  <a:lnTo>
                    <a:pt x="4779" y="623649"/>
                  </a:lnTo>
                  <a:lnTo>
                    <a:pt x="1960855" y="623649"/>
                  </a:lnTo>
                  <a:lnTo>
                    <a:pt x="1960490" y="619097"/>
                  </a:lnTo>
                  <a:close/>
                </a:path>
                <a:path w="1965960" h="1374775">
                  <a:moveTo>
                    <a:pt x="1957668" y="600888"/>
                  </a:moveTo>
                  <a:lnTo>
                    <a:pt x="7738" y="600888"/>
                  </a:lnTo>
                  <a:lnTo>
                    <a:pt x="7511" y="605441"/>
                  </a:lnTo>
                  <a:lnTo>
                    <a:pt x="7010" y="605441"/>
                  </a:lnTo>
                  <a:lnTo>
                    <a:pt x="6737" y="609993"/>
                  </a:lnTo>
                  <a:lnTo>
                    <a:pt x="5371" y="619097"/>
                  </a:lnTo>
                  <a:lnTo>
                    <a:pt x="1960035" y="619097"/>
                  </a:lnTo>
                  <a:lnTo>
                    <a:pt x="1959853" y="614545"/>
                  </a:lnTo>
                  <a:lnTo>
                    <a:pt x="1958943" y="609993"/>
                  </a:lnTo>
                  <a:lnTo>
                    <a:pt x="1958669" y="609993"/>
                  </a:lnTo>
                  <a:lnTo>
                    <a:pt x="1958214" y="605441"/>
                  </a:lnTo>
                  <a:lnTo>
                    <a:pt x="1957668" y="600888"/>
                  </a:lnTo>
                  <a:close/>
                </a:path>
                <a:path w="1965960" h="1374775">
                  <a:moveTo>
                    <a:pt x="1955756" y="591784"/>
                  </a:moveTo>
                  <a:lnTo>
                    <a:pt x="9650" y="591784"/>
                  </a:lnTo>
                  <a:lnTo>
                    <a:pt x="8011" y="600888"/>
                  </a:lnTo>
                  <a:lnTo>
                    <a:pt x="1957440" y="600888"/>
                  </a:lnTo>
                  <a:lnTo>
                    <a:pt x="1956348" y="596336"/>
                  </a:lnTo>
                  <a:lnTo>
                    <a:pt x="1956075" y="596336"/>
                  </a:lnTo>
                  <a:lnTo>
                    <a:pt x="1955756" y="591784"/>
                  </a:lnTo>
                  <a:close/>
                </a:path>
                <a:path w="1965960" h="1374775">
                  <a:moveTo>
                    <a:pt x="1954573" y="587232"/>
                  </a:moveTo>
                  <a:lnTo>
                    <a:pt x="10561" y="587232"/>
                  </a:lnTo>
                  <a:lnTo>
                    <a:pt x="10242" y="591784"/>
                  </a:lnTo>
                  <a:lnTo>
                    <a:pt x="1955210" y="591784"/>
                  </a:lnTo>
                  <a:lnTo>
                    <a:pt x="1954573" y="587232"/>
                  </a:lnTo>
                  <a:close/>
                </a:path>
                <a:path w="1965960" h="1374775">
                  <a:moveTo>
                    <a:pt x="1953025" y="578127"/>
                  </a:moveTo>
                  <a:lnTo>
                    <a:pt x="12427" y="578127"/>
                  </a:lnTo>
                  <a:lnTo>
                    <a:pt x="12108" y="582680"/>
                  </a:lnTo>
                  <a:lnTo>
                    <a:pt x="11152" y="587232"/>
                  </a:lnTo>
                  <a:lnTo>
                    <a:pt x="1954299" y="587232"/>
                  </a:lnTo>
                  <a:lnTo>
                    <a:pt x="1953343" y="582680"/>
                  </a:lnTo>
                  <a:lnTo>
                    <a:pt x="1953025" y="578127"/>
                  </a:lnTo>
                  <a:close/>
                </a:path>
                <a:path w="1965960" h="1374775">
                  <a:moveTo>
                    <a:pt x="1952023" y="573575"/>
                  </a:moveTo>
                  <a:lnTo>
                    <a:pt x="13428" y="573575"/>
                  </a:lnTo>
                  <a:lnTo>
                    <a:pt x="13064" y="578127"/>
                  </a:lnTo>
                  <a:lnTo>
                    <a:pt x="1952661" y="578127"/>
                  </a:lnTo>
                  <a:lnTo>
                    <a:pt x="1952023" y="573575"/>
                  </a:lnTo>
                  <a:close/>
                </a:path>
                <a:path w="1965960" h="1374775">
                  <a:moveTo>
                    <a:pt x="1946834" y="555366"/>
                  </a:moveTo>
                  <a:lnTo>
                    <a:pt x="18208" y="555366"/>
                  </a:lnTo>
                  <a:lnTo>
                    <a:pt x="17389" y="559919"/>
                  </a:lnTo>
                  <a:lnTo>
                    <a:pt x="16661" y="564471"/>
                  </a:lnTo>
                  <a:lnTo>
                    <a:pt x="15887" y="564471"/>
                  </a:lnTo>
                  <a:lnTo>
                    <a:pt x="15522" y="569023"/>
                  </a:lnTo>
                  <a:lnTo>
                    <a:pt x="14794" y="569023"/>
                  </a:lnTo>
                  <a:lnTo>
                    <a:pt x="14475" y="573575"/>
                  </a:lnTo>
                  <a:lnTo>
                    <a:pt x="1951340" y="573575"/>
                  </a:lnTo>
                  <a:lnTo>
                    <a:pt x="1949884" y="569023"/>
                  </a:lnTo>
                  <a:lnTo>
                    <a:pt x="1949520" y="564471"/>
                  </a:lnTo>
                  <a:lnTo>
                    <a:pt x="1948427" y="559919"/>
                  </a:lnTo>
                  <a:lnTo>
                    <a:pt x="1947653" y="559919"/>
                  </a:lnTo>
                  <a:lnTo>
                    <a:pt x="1946834" y="555366"/>
                  </a:lnTo>
                  <a:close/>
                </a:path>
                <a:path w="1965960" h="1374775">
                  <a:moveTo>
                    <a:pt x="1943966" y="546262"/>
                  </a:moveTo>
                  <a:lnTo>
                    <a:pt x="21031" y="546262"/>
                  </a:lnTo>
                  <a:lnTo>
                    <a:pt x="18572" y="555366"/>
                  </a:lnTo>
                  <a:lnTo>
                    <a:pt x="1946470" y="555366"/>
                  </a:lnTo>
                  <a:lnTo>
                    <a:pt x="1945241" y="550814"/>
                  </a:lnTo>
                  <a:lnTo>
                    <a:pt x="1944785" y="550814"/>
                  </a:lnTo>
                  <a:lnTo>
                    <a:pt x="1943966" y="546262"/>
                  </a:lnTo>
                  <a:close/>
                </a:path>
                <a:path w="1965960" h="1374775">
                  <a:moveTo>
                    <a:pt x="1943101" y="541710"/>
                  </a:moveTo>
                  <a:lnTo>
                    <a:pt x="22351" y="541710"/>
                  </a:lnTo>
                  <a:lnTo>
                    <a:pt x="21896" y="546262"/>
                  </a:lnTo>
                  <a:lnTo>
                    <a:pt x="1943511" y="546262"/>
                  </a:lnTo>
                  <a:lnTo>
                    <a:pt x="1943101" y="541710"/>
                  </a:lnTo>
                  <a:close/>
                </a:path>
                <a:path w="1965960" h="1374775">
                  <a:moveTo>
                    <a:pt x="1940415" y="532606"/>
                  </a:moveTo>
                  <a:lnTo>
                    <a:pt x="25037" y="532606"/>
                  </a:lnTo>
                  <a:lnTo>
                    <a:pt x="24581" y="537158"/>
                  </a:lnTo>
                  <a:lnTo>
                    <a:pt x="22760" y="541710"/>
                  </a:lnTo>
                  <a:lnTo>
                    <a:pt x="1942236" y="541710"/>
                  </a:lnTo>
                  <a:lnTo>
                    <a:pt x="1940870" y="537158"/>
                  </a:lnTo>
                  <a:lnTo>
                    <a:pt x="1940415" y="532606"/>
                  </a:lnTo>
                  <a:close/>
                </a:path>
                <a:path w="1965960" h="1374775">
                  <a:moveTo>
                    <a:pt x="1938503" y="528053"/>
                  </a:moveTo>
                  <a:lnTo>
                    <a:pt x="26903" y="528053"/>
                  </a:lnTo>
                  <a:lnTo>
                    <a:pt x="26448" y="532606"/>
                  </a:lnTo>
                  <a:lnTo>
                    <a:pt x="1939004" y="532606"/>
                  </a:lnTo>
                  <a:lnTo>
                    <a:pt x="1938503" y="528053"/>
                  </a:lnTo>
                  <a:close/>
                </a:path>
                <a:path w="1965960" h="1374775">
                  <a:moveTo>
                    <a:pt x="1937047" y="523501"/>
                  </a:moveTo>
                  <a:lnTo>
                    <a:pt x="28860" y="523501"/>
                  </a:lnTo>
                  <a:lnTo>
                    <a:pt x="27859" y="528053"/>
                  </a:lnTo>
                  <a:lnTo>
                    <a:pt x="1938048" y="528053"/>
                  </a:lnTo>
                  <a:lnTo>
                    <a:pt x="1937047" y="523501"/>
                  </a:lnTo>
                  <a:close/>
                </a:path>
                <a:path w="1965960" h="1374775">
                  <a:moveTo>
                    <a:pt x="1935089" y="518949"/>
                  </a:moveTo>
                  <a:lnTo>
                    <a:pt x="30363" y="518949"/>
                  </a:lnTo>
                  <a:lnTo>
                    <a:pt x="29361" y="523501"/>
                  </a:lnTo>
                  <a:lnTo>
                    <a:pt x="1936091" y="523501"/>
                  </a:lnTo>
                  <a:lnTo>
                    <a:pt x="1935089" y="518949"/>
                  </a:lnTo>
                  <a:close/>
                </a:path>
                <a:path w="1965960" h="1374775">
                  <a:moveTo>
                    <a:pt x="1933541" y="514397"/>
                  </a:moveTo>
                  <a:lnTo>
                    <a:pt x="31410" y="514397"/>
                  </a:lnTo>
                  <a:lnTo>
                    <a:pt x="30863" y="518949"/>
                  </a:lnTo>
                  <a:lnTo>
                    <a:pt x="1934543" y="518949"/>
                  </a:lnTo>
                  <a:lnTo>
                    <a:pt x="1933541" y="514397"/>
                  </a:lnTo>
                  <a:close/>
                </a:path>
                <a:path w="1965960" h="1374775">
                  <a:moveTo>
                    <a:pt x="1931948" y="509845"/>
                  </a:moveTo>
                  <a:lnTo>
                    <a:pt x="33504" y="509845"/>
                  </a:lnTo>
                  <a:lnTo>
                    <a:pt x="32411" y="514397"/>
                  </a:lnTo>
                  <a:lnTo>
                    <a:pt x="1932494" y="514397"/>
                  </a:lnTo>
                  <a:lnTo>
                    <a:pt x="1931948" y="509845"/>
                  </a:lnTo>
                  <a:close/>
                </a:path>
                <a:path w="1965960" h="1374775">
                  <a:moveTo>
                    <a:pt x="1930309" y="505292"/>
                  </a:moveTo>
                  <a:lnTo>
                    <a:pt x="35097" y="505292"/>
                  </a:lnTo>
                  <a:lnTo>
                    <a:pt x="34551" y="509845"/>
                  </a:lnTo>
                  <a:lnTo>
                    <a:pt x="1930856" y="509845"/>
                  </a:lnTo>
                  <a:lnTo>
                    <a:pt x="1930309" y="505292"/>
                  </a:lnTo>
                  <a:close/>
                </a:path>
                <a:path w="1965960" h="1374775">
                  <a:moveTo>
                    <a:pt x="1928671" y="500740"/>
                  </a:moveTo>
                  <a:lnTo>
                    <a:pt x="36781" y="500740"/>
                  </a:lnTo>
                  <a:lnTo>
                    <a:pt x="36189" y="505292"/>
                  </a:lnTo>
                  <a:lnTo>
                    <a:pt x="1929217" y="505292"/>
                  </a:lnTo>
                  <a:lnTo>
                    <a:pt x="1928671" y="500740"/>
                  </a:lnTo>
                  <a:close/>
                </a:path>
                <a:path w="1965960" h="1374775">
                  <a:moveTo>
                    <a:pt x="1926394" y="496188"/>
                  </a:moveTo>
                  <a:lnTo>
                    <a:pt x="39012" y="496188"/>
                  </a:lnTo>
                  <a:lnTo>
                    <a:pt x="38465" y="500740"/>
                  </a:lnTo>
                  <a:lnTo>
                    <a:pt x="1926986" y="500740"/>
                  </a:lnTo>
                  <a:lnTo>
                    <a:pt x="1926394" y="496188"/>
                  </a:lnTo>
                  <a:close/>
                </a:path>
                <a:path w="1965960" h="1374775">
                  <a:moveTo>
                    <a:pt x="1924665" y="491636"/>
                  </a:moveTo>
                  <a:lnTo>
                    <a:pt x="40742" y="491636"/>
                  </a:lnTo>
                  <a:lnTo>
                    <a:pt x="40195" y="496188"/>
                  </a:lnTo>
                  <a:lnTo>
                    <a:pt x="1925848" y="496188"/>
                  </a:lnTo>
                  <a:lnTo>
                    <a:pt x="1924665" y="491636"/>
                  </a:lnTo>
                  <a:close/>
                </a:path>
                <a:path w="1965960" h="1374775">
                  <a:moveTo>
                    <a:pt x="1922889" y="487084"/>
                  </a:moveTo>
                  <a:lnTo>
                    <a:pt x="42562" y="487084"/>
                  </a:lnTo>
                  <a:lnTo>
                    <a:pt x="41925" y="491636"/>
                  </a:lnTo>
                  <a:lnTo>
                    <a:pt x="1924073" y="491636"/>
                  </a:lnTo>
                  <a:lnTo>
                    <a:pt x="1922889" y="487084"/>
                  </a:lnTo>
                  <a:close/>
                </a:path>
                <a:path w="1965960" h="1374775">
                  <a:moveTo>
                    <a:pt x="1921068" y="482531"/>
                  </a:moveTo>
                  <a:lnTo>
                    <a:pt x="44338" y="482531"/>
                  </a:lnTo>
                  <a:lnTo>
                    <a:pt x="43154" y="487084"/>
                  </a:lnTo>
                  <a:lnTo>
                    <a:pt x="1921706" y="487084"/>
                  </a:lnTo>
                  <a:lnTo>
                    <a:pt x="1921068" y="482531"/>
                  </a:lnTo>
                  <a:close/>
                </a:path>
                <a:path w="1965960" h="1374775">
                  <a:moveTo>
                    <a:pt x="1914741" y="468875"/>
                  </a:moveTo>
                  <a:lnTo>
                    <a:pt x="50665" y="468875"/>
                  </a:lnTo>
                  <a:lnTo>
                    <a:pt x="45567" y="482531"/>
                  </a:lnTo>
                  <a:lnTo>
                    <a:pt x="1919248" y="482531"/>
                  </a:lnTo>
                  <a:lnTo>
                    <a:pt x="1915424" y="473427"/>
                  </a:lnTo>
                  <a:lnTo>
                    <a:pt x="1914741" y="468875"/>
                  </a:lnTo>
                  <a:close/>
                </a:path>
                <a:path w="1965960" h="1374775">
                  <a:moveTo>
                    <a:pt x="1908049" y="455218"/>
                  </a:moveTo>
                  <a:lnTo>
                    <a:pt x="57403" y="455218"/>
                  </a:lnTo>
                  <a:lnTo>
                    <a:pt x="56720" y="459771"/>
                  </a:lnTo>
                  <a:lnTo>
                    <a:pt x="53306" y="464323"/>
                  </a:lnTo>
                  <a:lnTo>
                    <a:pt x="52668" y="468875"/>
                  </a:lnTo>
                  <a:lnTo>
                    <a:pt x="1913466" y="468875"/>
                  </a:lnTo>
                  <a:lnTo>
                    <a:pt x="1912101" y="464323"/>
                  </a:lnTo>
                  <a:lnTo>
                    <a:pt x="1911463" y="464323"/>
                  </a:lnTo>
                  <a:lnTo>
                    <a:pt x="1908732" y="459771"/>
                  </a:lnTo>
                  <a:lnTo>
                    <a:pt x="1908049" y="455218"/>
                  </a:lnTo>
                  <a:close/>
                </a:path>
                <a:path w="1965960" h="1374775">
                  <a:moveTo>
                    <a:pt x="1905227" y="450666"/>
                  </a:moveTo>
                  <a:lnTo>
                    <a:pt x="60225" y="450666"/>
                  </a:lnTo>
                  <a:lnTo>
                    <a:pt x="59497" y="455218"/>
                  </a:lnTo>
                  <a:lnTo>
                    <a:pt x="1905955" y="455218"/>
                  </a:lnTo>
                  <a:lnTo>
                    <a:pt x="1905227" y="450666"/>
                  </a:lnTo>
                  <a:close/>
                </a:path>
                <a:path w="1965960" h="1374775">
                  <a:moveTo>
                    <a:pt x="1903087" y="446114"/>
                  </a:moveTo>
                  <a:lnTo>
                    <a:pt x="62364" y="446114"/>
                  </a:lnTo>
                  <a:lnTo>
                    <a:pt x="61636" y="450666"/>
                  </a:lnTo>
                  <a:lnTo>
                    <a:pt x="1903816" y="450666"/>
                  </a:lnTo>
                  <a:lnTo>
                    <a:pt x="1903087" y="446114"/>
                  </a:lnTo>
                  <a:close/>
                </a:path>
                <a:path w="1965960" h="1374775">
                  <a:moveTo>
                    <a:pt x="1900174" y="441562"/>
                  </a:moveTo>
                  <a:lnTo>
                    <a:pt x="65278" y="441562"/>
                  </a:lnTo>
                  <a:lnTo>
                    <a:pt x="64550" y="446114"/>
                  </a:lnTo>
                  <a:lnTo>
                    <a:pt x="1900902" y="446114"/>
                  </a:lnTo>
                  <a:lnTo>
                    <a:pt x="1900174" y="441562"/>
                  </a:lnTo>
                  <a:close/>
                </a:path>
                <a:path w="1965960" h="1374775">
                  <a:moveTo>
                    <a:pt x="1897943" y="437010"/>
                  </a:moveTo>
                  <a:lnTo>
                    <a:pt x="67508" y="437010"/>
                  </a:lnTo>
                  <a:lnTo>
                    <a:pt x="66780" y="441562"/>
                  </a:lnTo>
                  <a:lnTo>
                    <a:pt x="1898672" y="441562"/>
                  </a:lnTo>
                  <a:lnTo>
                    <a:pt x="1897943" y="437010"/>
                  </a:lnTo>
                  <a:close/>
                </a:path>
                <a:path w="1965960" h="1374775">
                  <a:moveTo>
                    <a:pt x="1895667" y="432457"/>
                  </a:moveTo>
                  <a:lnTo>
                    <a:pt x="69785" y="432457"/>
                  </a:lnTo>
                  <a:lnTo>
                    <a:pt x="69011" y="437010"/>
                  </a:lnTo>
                  <a:lnTo>
                    <a:pt x="1896441" y="437010"/>
                  </a:lnTo>
                  <a:lnTo>
                    <a:pt x="1895667" y="432457"/>
                  </a:lnTo>
                  <a:close/>
                </a:path>
                <a:path w="1965960" h="1374775">
                  <a:moveTo>
                    <a:pt x="1891798" y="427905"/>
                  </a:moveTo>
                  <a:lnTo>
                    <a:pt x="73608" y="427905"/>
                  </a:lnTo>
                  <a:lnTo>
                    <a:pt x="72061" y="432457"/>
                  </a:lnTo>
                  <a:lnTo>
                    <a:pt x="1893346" y="432457"/>
                  </a:lnTo>
                  <a:lnTo>
                    <a:pt x="1891798" y="427905"/>
                  </a:lnTo>
                  <a:close/>
                </a:path>
                <a:path w="1965960" h="1374775">
                  <a:moveTo>
                    <a:pt x="1890250" y="423353"/>
                  </a:moveTo>
                  <a:lnTo>
                    <a:pt x="75976" y="423353"/>
                  </a:lnTo>
                  <a:lnTo>
                    <a:pt x="74428" y="427905"/>
                  </a:lnTo>
                  <a:lnTo>
                    <a:pt x="1891024" y="427905"/>
                  </a:lnTo>
                  <a:lnTo>
                    <a:pt x="1890250" y="423353"/>
                  </a:lnTo>
                  <a:close/>
                </a:path>
                <a:path w="1965960" h="1374775">
                  <a:moveTo>
                    <a:pt x="1881328" y="409696"/>
                  </a:moveTo>
                  <a:lnTo>
                    <a:pt x="84943" y="409696"/>
                  </a:lnTo>
                  <a:lnTo>
                    <a:pt x="78388" y="418801"/>
                  </a:lnTo>
                  <a:lnTo>
                    <a:pt x="77569" y="423353"/>
                  </a:lnTo>
                  <a:lnTo>
                    <a:pt x="1887837" y="423353"/>
                  </a:lnTo>
                  <a:lnTo>
                    <a:pt x="1887064" y="418801"/>
                  </a:lnTo>
                  <a:lnTo>
                    <a:pt x="1881328" y="409696"/>
                  </a:lnTo>
                  <a:close/>
                </a:path>
                <a:path w="1965960" h="1374775">
                  <a:moveTo>
                    <a:pt x="1878779" y="405144"/>
                  </a:moveTo>
                  <a:lnTo>
                    <a:pt x="86628" y="405144"/>
                  </a:lnTo>
                  <a:lnTo>
                    <a:pt x="85808" y="409696"/>
                  </a:lnTo>
                  <a:lnTo>
                    <a:pt x="1879644" y="409696"/>
                  </a:lnTo>
                  <a:lnTo>
                    <a:pt x="1878779" y="405144"/>
                  </a:lnTo>
                  <a:close/>
                </a:path>
                <a:path w="1965960" h="1374775">
                  <a:moveTo>
                    <a:pt x="1875364" y="400592"/>
                  </a:moveTo>
                  <a:lnTo>
                    <a:pt x="89177" y="400592"/>
                  </a:lnTo>
                  <a:lnTo>
                    <a:pt x="88357" y="405144"/>
                  </a:lnTo>
                  <a:lnTo>
                    <a:pt x="1877959" y="405144"/>
                  </a:lnTo>
                  <a:lnTo>
                    <a:pt x="1875364" y="400592"/>
                  </a:lnTo>
                  <a:close/>
                </a:path>
                <a:path w="1965960" h="1374775">
                  <a:moveTo>
                    <a:pt x="1871905" y="396040"/>
                  </a:moveTo>
                  <a:lnTo>
                    <a:pt x="92637" y="396040"/>
                  </a:lnTo>
                  <a:lnTo>
                    <a:pt x="90907" y="400592"/>
                  </a:lnTo>
                  <a:lnTo>
                    <a:pt x="1874500" y="400592"/>
                  </a:lnTo>
                  <a:lnTo>
                    <a:pt x="1871905" y="396040"/>
                  </a:lnTo>
                  <a:close/>
                </a:path>
                <a:path w="1965960" h="1374775">
                  <a:moveTo>
                    <a:pt x="1870129" y="391488"/>
                  </a:moveTo>
                  <a:lnTo>
                    <a:pt x="95277" y="391488"/>
                  </a:lnTo>
                  <a:lnTo>
                    <a:pt x="94412" y="396040"/>
                  </a:lnTo>
                  <a:lnTo>
                    <a:pt x="1871040" y="396040"/>
                  </a:lnTo>
                  <a:lnTo>
                    <a:pt x="1870129" y="391488"/>
                  </a:lnTo>
                  <a:close/>
                </a:path>
                <a:path w="1965960" h="1374775">
                  <a:moveTo>
                    <a:pt x="1866579" y="386935"/>
                  </a:moveTo>
                  <a:lnTo>
                    <a:pt x="98873" y="386935"/>
                  </a:lnTo>
                  <a:lnTo>
                    <a:pt x="97963" y="391488"/>
                  </a:lnTo>
                  <a:lnTo>
                    <a:pt x="1867489" y="391488"/>
                  </a:lnTo>
                  <a:lnTo>
                    <a:pt x="1866579" y="386935"/>
                  </a:lnTo>
                  <a:close/>
                </a:path>
                <a:path w="1965960" h="1374775">
                  <a:moveTo>
                    <a:pt x="1862937" y="382383"/>
                  </a:moveTo>
                  <a:lnTo>
                    <a:pt x="102469" y="382383"/>
                  </a:lnTo>
                  <a:lnTo>
                    <a:pt x="100648" y="386935"/>
                  </a:lnTo>
                  <a:lnTo>
                    <a:pt x="1864758" y="386935"/>
                  </a:lnTo>
                  <a:lnTo>
                    <a:pt x="1862937" y="382383"/>
                  </a:lnTo>
                  <a:close/>
                </a:path>
                <a:path w="1965960" h="1374775">
                  <a:moveTo>
                    <a:pt x="1860206" y="377831"/>
                  </a:moveTo>
                  <a:lnTo>
                    <a:pt x="105246" y="377831"/>
                  </a:lnTo>
                  <a:lnTo>
                    <a:pt x="103425" y="382383"/>
                  </a:lnTo>
                  <a:lnTo>
                    <a:pt x="1862027" y="382383"/>
                  </a:lnTo>
                  <a:lnTo>
                    <a:pt x="1860206" y="377831"/>
                  </a:lnTo>
                  <a:close/>
                </a:path>
                <a:path w="1965960" h="1374775">
                  <a:moveTo>
                    <a:pt x="1856427" y="373279"/>
                  </a:moveTo>
                  <a:lnTo>
                    <a:pt x="108068" y="373279"/>
                  </a:lnTo>
                  <a:lnTo>
                    <a:pt x="107112" y="377831"/>
                  </a:lnTo>
                  <a:lnTo>
                    <a:pt x="1858339" y="377831"/>
                  </a:lnTo>
                  <a:lnTo>
                    <a:pt x="1856427" y="373279"/>
                  </a:lnTo>
                  <a:close/>
                </a:path>
                <a:path w="1965960" h="1374775">
                  <a:moveTo>
                    <a:pt x="1849781" y="364175"/>
                  </a:moveTo>
                  <a:lnTo>
                    <a:pt x="116627" y="364175"/>
                  </a:lnTo>
                  <a:lnTo>
                    <a:pt x="108979" y="373279"/>
                  </a:lnTo>
                  <a:lnTo>
                    <a:pt x="1855517" y="373279"/>
                  </a:lnTo>
                  <a:lnTo>
                    <a:pt x="1849781" y="364175"/>
                  </a:lnTo>
                  <a:close/>
                </a:path>
                <a:path w="1965960" h="1374775">
                  <a:moveTo>
                    <a:pt x="1842907" y="355070"/>
                  </a:moveTo>
                  <a:lnTo>
                    <a:pt x="123546" y="355070"/>
                  </a:lnTo>
                  <a:lnTo>
                    <a:pt x="118584" y="359622"/>
                  </a:lnTo>
                  <a:lnTo>
                    <a:pt x="117628" y="364175"/>
                  </a:lnTo>
                  <a:lnTo>
                    <a:pt x="1847824" y="364175"/>
                  </a:lnTo>
                  <a:lnTo>
                    <a:pt x="1846822" y="359622"/>
                  </a:lnTo>
                  <a:lnTo>
                    <a:pt x="1843863" y="359622"/>
                  </a:lnTo>
                  <a:lnTo>
                    <a:pt x="1842907" y="355070"/>
                  </a:lnTo>
                  <a:close/>
                </a:path>
                <a:path w="1965960" h="1374775">
                  <a:moveTo>
                    <a:pt x="1839903" y="350518"/>
                  </a:moveTo>
                  <a:lnTo>
                    <a:pt x="126550" y="350518"/>
                  </a:lnTo>
                  <a:lnTo>
                    <a:pt x="124547" y="355070"/>
                  </a:lnTo>
                  <a:lnTo>
                    <a:pt x="1840904" y="355070"/>
                  </a:lnTo>
                  <a:lnTo>
                    <a:pt x="1839903" y="350518"/>
                  </a:lnTo>
                  <a:close/>
                </a:path>
                <a:path w="1965960" h="1374775">
                  <a:moveTo>
                    <a:pt x="1835806" y="345966"/>
                  </a:moveTo>
                  <a:lnTo>
                    <a:pt x="131649" y="345966"/>
                  </a:lnTo>
                  <a:lnTo>
                    <a:pt x="128599" y="350518"/>
                  </a:lnTo>
                  <a:lnTo>
                    <a:pt x="1836853" y="350518"/>
                  </a:lnTo>
                  <a:lnTo>
                    <a:pt x="1835806" y="345966"/>
                  </a:lnTo>
                  <a:close/>
                </a:path>
                <a:path w="1965960" h="1374775">
                  <a:moveTo>
                    <a:pt x="1831709" y="341414"/>
                  </a:moveTo>
                  <a:lnTo>
                    <a:pt x="134744" y="341414"/>
                  </a:lnTo>
                  <a:lnTo>
                    <a:pt x="132696" y="345966"/>
                  </a:lnTo>
                  <a:lnTo>
                    <a:pt x="1833757" y="345966"/>
                  </a:lnTo>
                  <a:lnTo>
                    <a:pt x="1831709" y="341414"/>
                  </a:lnTo>
                  <a:close/>
                </a:path>
                <a:path w="1965960" h="1374775">
                  <a:moveTo>
                    <a:pt x="1822240" y="332309"/>
                  </a:moveTo>
                  <a:lnTo>
                    <a:pt x="141072" y="332309"/>
                  </a:lnTo>
                  <a:lnTo>
                    <a:pt x="138978" y="336861"/>
                  </a:lnTo>
                  <a:lnTo>
                    <a:pt x="136838" y="336861"/>
                  </a:lnTo>
                  <a:lnTo>
                    <a:pt x="135791" y="341414"/>
                  </a:lnTo>
                  <a:lnTo>
                    <a:pt x="1829615" y="341414"/>
                  </a:lnTo>
                  <a:lnTo>
                    <a:pt x="1828568" y="336861"/>
                  </a:lnTo>
                  <a:lnTo>
                    <a:pt x="1822240" y="332309"/>
                  </a:lnTo>
                  <a:close/>
                </a:path>
                <a:path w="1965960" h="1374775">
                  <a:moveTo>
                    <a:pt x="1820101" y="327757"/>
                  </a:moveTo>
                  <a:lnTo>
                    <a:pt x="146443" y="327757"/>
                  </a:lnTo>
                  <a:lnTo>
                    <a:pt x="144258" y="332309"/>
                  </a:lnTo>
                  <a:lnTo>
                    <a:pt x="1821148" y="332309"/>
                  </a:lnTo>
                  <a:lnTo>
                    <a:pt x="1820101" y="327757"/>
                  </a:lnTo>
                  <a:close/>
                </a:path>
                <a:path w="1965960" h="1374775">
                  <a:moveTo>
                    <a:pt x="1812453" y="318653"/>
                  </a:moveTo>
                  <a:lnTo>
                    <a:pt x="154091" y="318653"/>
                  </a:lnTo>
                  <a:lnTo>
                    <a:pt x="151860" y="323205"/>
                  </a:lnTo>
                  <a:lnTo>
                    <a:pt x="148583" y="323205"/>
                  </a:lnTo>
                  <a:lnTo>
                    <a:pt x="147536" y="327757"/>
                  </a:lnTo>
                  <a:lnTo>
                    <a:pt x="1817916" y="327757"/>
                  </a:lnTo>
                  <a:lnTo>
                    <a:pt x="1812453" y="318653"/>
                  </a:lnTo>
                  <a:close/>
                </a:path>
                <a:path w="1965960" h="1374775">
                  <a:moveTo>
                    <a:pt x="1800117" y="304996"/>
                  </a:moveTo>
                  <a:lnTo>
                    <a:pt x="165335" y="304996"/>
                  </a:lnTo>
                  <a:lnTo>
                    <a:pt x="163059" y="309548"/>
                  </a:lnTo>
                  <a:lnTo>
                    <a:pt x="161921" y="309548"/>
                  </a:lnTo>
                  <a:lnTo>
                    <a:pt x="160783" y="314100"/>
                  </a:lnTo>
                  <a:lnTo>
                    <a:pt x="155184" y="318653"/>
                  </a:lnTo>
                  <a:lnTo>
                    <a:pt x="1809130" y="318653"/>
                  </a:lnTo>
                  <a:lnTo>
                    <a:pt x="1807992" y="314100"/>
                  </a:lnTo>
                  <a:lnTo>
                    <a:pt x="1805761" y="314100"/>
                  </a:lnTo>
                  <a:lnTo>
                    <a:pt x="1802393" y="309548"/>
                  </a:lnTo>
                  <a:lnTo>
                    <a:pt x="1800117" y="304996"/>
                  </a:lnTo>
                  <a:close/>
                </a:path>
                <a:path w="1965960" h="1374775">
                  <a:moveTo>
                    <a:pt x="1795519" y="300444"/>
                  </a:moveTo>
                  <a:lnTo>
                    <a:pt x="172254" y="300444"/>
                  </a:lnTo>
                  <a:lnTo>
                    <a:pt x="168795" y="304996"/>
                  </a:lnTo>
                  <a:lnTo>
                    <a:pt x="1797795" y="304996"/>
                  </a:lnTo>
                  <a:lnTo>
                    <a:pt x="1795519" y="300444"/>
                  </a:lnTo>
                  <a:close/>
                </a:path>
                <a:path w="1965960" h="1374775">
                  <a:moveTo>
                    <a:pt x="1790830" y="295892"/>
                  </a:moveTo>
                  <a:lnTo>
                    <a:pt x="174576" y="295892"/>
                  </a:lnTo>
                  <a:lnTo>
                    <a:pt x="173438" y="300444"/>
                  </a:lnTo>
                  <a:lnTo>
                    <a:pt x="1793197" y="300444"/>
                  </a:lnTo>
                  <a:lnTo>
                    <a:pt x="1790830" y="295892"/>
                  </a:lnTo>
                  <a:close/>
                </a:path>
                <a:path w="1965960" h="1374775">
                  <a:moveTo>
                    <a:pt x="1786142" y="291340"/>
                  </a:moveTo>
                  <a:lnTo>
                    <a:pt x="179310" y="291340"/>
                  </a:lnTo>
                  <a:lnTo>
                    <a:pt x="178127" y="295892"/>
                  </a:lnTo>
                  <a:lnTo>
                    <a:pt x="1787325" y="295892"/>
                  </a:lnTo>
                  <a:lnTo>
                    <a:pt x="1786142" y="291340"/>
                  </a:lnTo>
                  <a:close/>
                </a:path>
                <a:path w="1965960" h="1374775">
                  <a:moveTo>
                    <a:pt x="1781362" y="286787"/>
                  </a:moveTo>
                  <a:lnTo>
                    <a:pt x="185274" y="286787"/>
                  </a:lnTo>
                  <a:lnTo>
                    <a:pt x="182861" y="291340"/>
                  </a:lnTo>
                  <a:lnTo>
                    <a:pt x="1782545" y="291340"/>
                  </a:lnTo>
                  <a:lnTo>
                    <a:pt x="1781362" y="286787"/>
                  </a:lnTo>
                  <a:close/>
                </a:path>
                <a:path w="1965960" h="1374775">
                  <a:moveTo>
                    <a:pt x="1776536" y="282235"/>
                  </a:moveTo>
                  <a:lnTo>
                    <a:pt x="188915" y="282235"/>
                  </a:lnTo>
                  <a:lnTo>
                    <a:pt x="187686" y="286787"/>
                  </a:lnTo>
                  <a:lnTo>
                    <a:pt x="1777766" y="286787"/>
                  </a:lnTo>
                  <a:lnTo>
                    <a:pt x="1776536" y="282235"/>
                  </a:lnTo>
                  <a:close/>
                </a:path>
                <a:path w="1965960" h="1374775">
                  <a:moveTo>
                    <a:pt x="1771666" y="277683"/>
                  </a:moveTo>
                  <a:lnTo>
                    <a:pt x="193786" y="277683"/>
                  </a:lnTo>
                  <a:lnTo>
                    <a:pt x="192557" y="282235"/>
                  </a:lnTo>
                  <a:lnTo>
                    <a:pt x="1772895" y="282235"/>
                  </a:lnTo>
                  <a:lnTo>
                    <a:pt x="1771666" y="277683"/>
                  </a:lnTo>
                  <a:close/>
                </a:path>
                <a:path w="1965960" h="1374775">
                  <a:moveTo>
                    <a:pt x="1764246" y="273131"/>
                  </a:moveTo>
                  <a:lnTo>
                    <a:pt x="198703" y="273131"/>
                  </a:lnTo>
                  <a:lnTo>
                    <a:pt x="197473" y="277683"/>
                  </a:lnTo>
                  <a:lnTo>
                    <a:pt x="1770437" y="277683"/>
                  </a:lnTo>
                  <a:lnTo>
                    <a:pt x="1764246" y="273131"/>
                  </a:lnTo>
                  <a:close/>
                </a:path>
                <a:path w="1965960" h="1374775">
                  <a:moveTo>
                    <a:pt x="1761742" y="268579"/>
                  </a:moveTo>
                  <a:lnTo>
                    <a:pt x="203710" y="268579"/>
                  </a:lnTo>
                  <a:lnTo>
                    <a:pt x="202435" y="273131"/>
                  </a:lnTo>
                  <a:lnTo>
                    <a:pt x="1762971" y="273131"/>
                  </a:lnTo>
                  <a:lnTo>
                    <a:pt x="1761742" y="268579"/>
                  </a:lnTo>
                  <a:close/>
                </a:path>
                <a:path w="1965960" h="1374775">
                  <a:moveTo>
                    <a:pt x="1751590" y="259474"/>
                  </a:moveTo>
                  <a:lnTo>
                    <a:pt x="213861" y="259474"/>
                  </a:lnTo>
                  <a:lnTo>
                    <a:pt x="204939" y="268579"/>
                  </a:lnTo>
                  <a:lnTo>
                    <a:pt x="1759238" y="268579"/>
                  </a:lnTo>
                  <a:lnTo>
                    <a:pt x="1751590" y="259474"/>
                  </a:lnTo>
                  <a:close/>
                </a:path>
                <a:path w="1965960" h="1374775">
                  <a:moveTo>
                    <a:pt x="1741211" y="250370"/>
                  </a:moveTo>
                  <a:lnTo>
                    <a:pt x="225515" y="250370"/>
                  </a:lnTo>
                  <a:lnTo>
                    <a:pt x="221600" y="254922"/>
                  </a:lnTo>
                  <a:lnTo>
                    <a:pt x="219005" y="254922"/>
                  </a:lnTo>
                  <a:lnTo>
                    <a:pt x="216411" y="259474"/>
                  </a:lnTo>
                  <a:lnTo>
                    <a:pt x="1747721" y="259474"/>
                  </a:lnTo>
                  <a:lnTo>
                    <a:pt x="1742532" y="254922"/>
                  </a:lnTo>
                  <a:lnTo>
                    <a:pt x="1741211" y="250370"/>
                  </a:lnTo>
                  <a:close/>
                </a:path>
                <a:path w="1965960" h="1374775">
                  <a:moveTo>
                    <a:pt x="1735976" y="245818"/>
                  </a:moveTo>
                  <a:lnTo>
                    <a:pt x="229475" y="245818"/>
                  </a:lnTo>
                  <a:lnTo>
                    <a:pt x="228155" y="250370"/>
                  </a:lnTo>
                  <a:lnTo>
                    <a:pt x="1737297" y="250370"/>
                  </a:lnTo>
                  <a:lnTo>
                    <a:pt x="1735976" y="245818"/>
                  </a:lnTo>
                  <a:close/>
                </a:path>
                <a:path w="1965960" h="1374775">
                  <a:moveTo>
                    <a:pt x="1730650" y="241265"/>
                  </a:moveTo>
                  <a:lnTo>
                    <a:pt x="234801" y="241265"/>
                  </a:lnTo>
                  <a:lnTo>
                    <a:pt x="233436" y="245818"/>
                  </a:lnTo>
                  <a:lnTo>
                    <a:pt x="1733291" y="245818"/>
                  </a:lnTo>
                  <a:lnTo>
                    <a:pt x="1730650" y="241265"/>
                  </a:lnTo>
                  <a:close/>
                </a:path>
                <a:path w="1965960" h="1374775">
                  <a:moveTo>
                    <a:pt x="1725279" y="236713"/>
                  </a:moveTo>
                  <a:lnTo>
                    <a:pt x="240173" y="236713"/>
                  </a:lnTo>
                  <a:lnTo>
                    <a:pt x="238807" y="241265"/>
                  </a:lnTo>
                  <a:lnTo>
                    <a:pt x="1726644" y="241265"/>
                  </a:lnTo>
                  <a:lnTo>
                    <a:pt x="1725279" y="236713"/>
                  </a:lnTo>
                  <a:close/>
                </a:path>
                <a:path w="1965960" h="1374775">
                  <a:moveTo>
                    <a:pt x="1719862" y="232161"/>
                  </a:moveTo>
                  <a:lnTo>
                    <a:pt x="245590" y="232161"/>
                  </a:lnTo>
                  <a:lnTo>
                    <a:pt x="241493" y="236713"/>
                  </a:lnTo>
                  <a:lnTo>
                    <a:pt x="1722593" y="236713"/>
                  </a:lnTo>
                  <a:lnTo>
                    <a:pt x="1719862" y="232161"/>
                  </a:lnTo>
                  <a:close/>
                </a:path>
                <a:path w="1965960" h="1374775">
                  <a:moveTo>
                    <a:pt x="1706114" y="223057"/>
                  </a:moveTo>
                  <a:lnTo>
                    <a:pt x="259338" y="223057"/>
                  </a:lnTo>
                  <a:lnTo>
                    <a:pt x="252418" y="227609"/>
                  </a:lnTo>
                  <a:lnTo>
                    <a:pt x="251053" y="232161"/>
                  </a:lnTo>
                  <a:lnTo>
                    <a:pt x="1714399" y="232161"/>
                  </a:lnTo>
                  <a:lnTo>
                    <a:pt x="1713033" y="227609"/>
                  </a:lnTo>
                  <a:lnTo>
                    <a:pt x="1710257" y="227609"/>
                  </a:lnTo>
                  <a:lnTo>
                    <a:pt x="1706114" y="223057"/>
                  </a:lnTo>
                  <a:close/>
                </a:path>
                <a:path w="1965960" h="1374775">
                  <a:moveTo>
                    <a:pt x="1696281" y="213952"/>
                  </a:moveTo>
                  <a:lnTo>
                    <a:pt x="271993" y="213952"/>
                  </a:lnTo>
                  <a:lnTo>
                    <a:pt x="263526" y="218505"/>
                  </a:lnTo>
                  <a:lnTo>
                    <a:pt x="260749" y="223057"/>
                  </a:lnTo>
                  <a:lnTo>
                    <a:pt x="1703292" y="223057"/>
                  </a:lnTo>
                  <a:lnTo>
                    <a:pt x="1700515" y="218505"/>
                  </a:lnTo>
                  <a:lnTo>
                    <a:pt x="1696281" y="213952"/>
                  </a:lnTo>
                  <a:close/>
                </a:path>
                <a:path w="1965960" h="1374775">
                  <a:moveTo>
                    <a:pt x="1689134" y="209400"/>
                  </a:moveTo>
                  <a:lnTo>
                    <a:pt x="276272" y="209400"/>
                  </a:lnTo>
                  <a:lnTo>
                    <a:pt x="274861" y="213952"/>
                  </a:lnTo>
                  <a:lnTo>
                    <a:pt x="1690591" y="213952"/>
                  </a:lnTo>
                  <a:lnTo>
                    <a:pt x="1689134" y="209400"/>
                  </a:lnTo>
                  <a:close/>
                </a:path>
                <a:path w="1965960" h="1374775">
                  <a:moveTo>
                    <a:pt x="1683399" y="204848"/>
                  </a:moveTo>
                  <a:lnTo>
                    <a:pt x="282053" y="204848"/>
                  </a:lnTo>
                  <a:lnTo>
                    <a:pt x="280596" y="209400"/>
                  </a:lnTo>
                  <a:lnTo>
                    <a:pt x="1684855" y="209400"/>
                  </a:lnTo>
                  <a:lnTo>
                    <a:pt x="1683399" y="204848"/>
                  </a:lnTo>
                  <a:close/>
                </a:path>
                <a:path w="1965960" h="1374775">
                  <a:moveTo>
                    <a:pt x="1674704" y="200296"/>
                  </a:moveTo>
                  <a:lnTo>
                    <a:pt x="290748" y="200296"/>
                  </a:lnTo>
                  <a:lnTo>
                    <a:pt x="287834" y="204848"/>
                  </a:lnTo>
                  <a:lnTo>
                    <a:pt x="1677617" y="204848"/>
                  </a:lnTo>
                  <a:lnTo>
                    <a:pt x="1674704" y="200296"/>
                  </a:lnTo>
                  <a:close/>
                </a:path>
                <a:path w="1965960" h="1374775">
                  <a:moveTo>
                    <a:pt x="1668832" y="195744"/>
                  </a:moveTo>
                  <a:lnTo>
                    <a:pt x="295163" y="195744"/>
                  </a:lnTo>
                  <a:lnTo>
                    <a:pt x="293661" y="200296"/>
                  </a:lnTo>
                  <a:lnTo>
                    <a:pt x="1673202" y="200296"/>
                  </a:lnTo>
                  <a:lnTo>
                    <a:pt x="1668832" y="195744"/>
                  </a:lnTo>
                  <a:close/>
                </a:path>
                <a:path w="1965960" h="1374775">
                  <a:moveTo>
                    <a:pt x="1662914" y="191191"/>
                  </a:moveTo>
                  <a:lnTo>
                    <a:pt x="304040" y="191191"/>
                  </a:lnTo>
                  <a:lnTo>
                    <a:pt x="301036" y="195744"/>
                  </a:lnTo>
                  <a:lnTo>
                    <a:pt x="1664371" y="195744"/>
                  </a:lnTo>
                  <a:lnTo>
                    <a:pt x="1662914" y="191191"/>
                  </a:lnTo>
                  <a:close/>
                </a:path>
                <a:path w="1965960" h="1374775">
                  <a:moveTo>
                    <a:pt x="1656950" y="186639"/>
                  </a:moveTo>
                  <a:lnTo>
                    <a:pt x="308501" y="186639"/>
                  </a:lnTo>
                  <a:lnTo>
                    <a:pt x="306999" y="191191"/>
                  </a:lnTo>
                  <a:lnTo>
                    <a:pt x="1658407" y="191191"/>
                  </a:lnTo>
                  <a:lnTo>
                    <a:pt x="1656950" y="186639"/>
                  </a:lnTo>
                  <a:close/>
                </a:path>
                <a:path w="1965960" h="1374775">
                  <a:moveTo>
                    <a:pt x="1649394" y="182087"/>
                  </a:moveTo>
                  <a:lnTo>
                    <a:pt x="316012" y="182087"/>
                  </a:lnTo>
                  <a:lnTo>
                    <a:pt x="314510" y="186639"/>
                  </a:lnTo>
                  <a:lnTo>
                    <a:pt x="1650942" y="186639"/>
                  </a:lnTo>
                  <a:lnTo>
                    <a:pt x="1649394" y="182087"/>
                  </a:lnTo>
                  <a:close/>
                </a:path>
                <a:path w="1965960" h="1374775">
                  <a:moveTo>
                    <a:pt x="1641792" y="177535"/>
                  </a:moveTo>
                  <a:lnTo>
                    <a:pt x="323615" y="177535"/>
                  </a:lnTo>
                  <a:lnTo>
                    <a:pt x="322112" y="182087"/>
                  </a:lnTo>
                  <a:lnTo>
                    <a:pt x="1643339" y="182087"/>
                  </a:lnTo>
                  <a:lnTo>
                    <a:pt x="1641792" y="177535"/>
                  </a:lnTo>
                  <a:close/>
                </a:path>
                <a:path w="1965960" h="1374775">
                  <a:moveTo>
                    <a:pt x="1631049" y="172983"/>
                  </a:moveTo>
                  <a:lnTo>
                    <a:pt x="334403" y="172983"/>
                  </a:lnTo>
                  <a:lnTo>
                    <a:pt x="326665" y="177535"/>
                  </a:lnTo>
                  <a:lnTo>
                    <a:pt x="1637239" y="177535"/>
                  </a:lnTo>
                  <a:lnTo>
                    <a:pt x="1631049" y="172983"/>
                  </a:lnTo>
                  <a:close/>
                </a:path>
                <a:path w="1965960" h="1374775">
                  <a:moveTo>
                    <a:pt x="1624858" y="168430"/>
                  </a:moveTo>
                  <a:lnTo>
                    <a:pt x="340594" y="168430"/>
                  </a:lnTo>
                  <a:lnTo>
                    <a:pt x="335951" y="172983"/>
                  </a:lnTo>
                  <a:lnTo>
                    <a:pt x="1629501" y="172983"/>
                  </a:lnTo>
                  <a:lnTo>
                    <a:pt x="1624858" y="168430"/>
                  </a:lnTo>
                  <a:close/>
                </a:path>
                <a:path w="1965960" h="1374775">
                  <a:moveTo>
                    <a:pt x="1620169" y="163878"/>
                  </a:moveTo>
                  <a:lnTo>
                    <a:pt x="345283" y="163878"/>
                  </a:lnTo>
                  <a:lnTo>
                    <a:pt x="343735" y="168430"/>
                  </a:lnTo>
                  <a:lnTo>
                    <a:pt x="1621717" y="168430"/>
                  </a:lnTo>
                  <a:lnTo>
                    <a:pt x="1620169" y="163878"/>
                  </a:lnTo>
                  <a:close/>
                </a:path>
                <a:path w="1965960" h="1374775">
                  <a:moveTo>
                    <a:pt x="1612293" y="159326"/>
                  </a:moveTo>
                  <a:lnTo>
                    <a:pt x="353158" y="159326"/>
                  </a:lnTo>
                  <a:lnTo>
                    <a:pt x="349972" y="163878"/>
                  </a:lnTo>
                  <a:lnTo>
                    <a:pt x="1613887" y="163878"/>
                  </a:lnTo>
                  <a:lnTo>
                    <a:pt x="1612293" y="159326"/>
                  </a:lnTo>
                  <a:close/>
                </a:path>
                <a:path w="1965960" h="1374775">
                  <a:moveTo>
                    <a:pt x="1602779" y="154774"/>
                  </a:moveTo>
                  <a:lnTo>
                    <a:pt x="365859" y="154774"/>
                  </a:lnTo>
                  <a:lnTo>
                    <a:pt x="354706" y="159326"/>
                  </a:lnTo>
                  <a:lnTo>
                    <a:pt x="1607559" y="159326"/>
                  </a:lnTo>
                  <a:lnTo>
                    <a:pt x="1602779" y="154774"/>
                  </a:lnTo>
                  <a:close/>
                </a:path>
                <a:path w="1965960" h="1374775">
                  <a:moveTo>
                    <a:pt x="1596361" y="150222"/>
                  </a:moveTo>
                  <a:lnTo>
                    <a:pt x="369091" y="150222"/>
                  </a:lnTo>
                  <a:lnTo>
                    <a:pt x="367498" y="154774"/>
                  </a:lnTo>
                  <a:lnTo>
                    <a:pt x="1601141" y="154774"/>
                  </a:lnTo>
                  <a:lnTo>
                    <a:pt x="1596361" y="150222"/>
                  </a:lnTo>
                  <a:close/>
                </a:path>
                <a:path w="1965960" h="1374775">
                  <a:moveTo>
                    <a:pt x="1588258" y="145670"/>
                  </a:moveTo>
                  <a:lnTo>
                    <a:pt x="377148" y="145670"/>
                  </a:lnTo>
                  <a:lnTo>
                    <a:pt x="375555" y="150222"/>
                  </a:lnTo>
                  <a:lnTo>
                    <a:pt x="1589897" y="150222"/>
                  </a:lnTo>
                  <a:lnTo>
                    <a:pt x="1588258" y="145670"/>
                  </a:lnTo>
                  <a:close/>
                </a:path>
                <a:path w="1965960" h="1374775">
                  <a:moveTo>
                    <a:pt x="1571916" y="136565"/>
                  </a:moveTo>
                  <a:lnTo>
                    <a:pt x="395129" y="136565"/>
                  </a:lnTo>
                  <a:lnTo>
                    <a:pt x="385297" y="141117"/>
                  </a:lnTo>
                  <a:lnTo>
                    <a:pt x="383658" y="145670"/>
                  </a:lnTo>
                  <a:lnTo>
                    <a:pt x="1581794" y="145670"/>
                  </a:lnTo>
                  <a:lnTo>
                    <a:pt x="1580155" y="141117"/>
                  </a:lnTo>
                  <a:lnTo>
                    <a:pt x="1573600" y="141117"/>
                  </a:lnTo>
                  <a:lnTo>
                    <a:pt x="1571916" y="136565"/>
                  </a:lnTo>
                  <a:close/>
                </a:path>
                <a:path w="1965960" h="1374775">
                  <a:moveTo>
                    <a:pt x="1561992" y="132013"/>
                  </a:moveTo>
                  <a:lnTo>
                    <a:pt x="403414" y="132013"/>
                  </a:lnTo>
                  <a:lnTo>
                    <a:pt x="401776" y="136565"/>
                  </a:lnTo>
                  <a:lnTo>
                    <a:pt x="1563676" y="136565"/>
                  </a:lnTo>
                  <a:lnTo>
                    <a:pt x="1561992" y="132013"/>
                  </a:lnTo>
                  <a:close/>
                </a:path>
                <a:path w="1965960" h="1374775">
                  <a:moveTo>
                    <a:pt x="1553661" y="127461"/>
                  </a:moveTo>
                  <a:lnTo>
                    <a:pt x="411790" y="127461"/>
                  </a:lnTo>
                  <a:lnTo>
                    <a:pt x="410106" y="132013"/>
                  </a:lnTo>
                  <a:lnTo>
                    <a:pt x="1555346" y="132013"/>
                  </a:lnTo>
                  <a:lnTo>
                    <a:pt x="1553661" y="127461"/>
                  </a:lnTo>
                  <a:close/>
                </a:path>
                <a:path w="1965960" h="1374775">
                  <a:moveTo>
                    <a:pt x="1538503" y="122909"/>
                  </a:moveTo>
                  <a:lnTo>
                    <a:pt x="421851" y="122909"/>
                  </a:lnTo>
                  <a:lnTo>
                    <a:pt x="416798" y="127461"/>
                  </a:lnTo>
                  <a:lnTo>
                    <a:pt x="1548608" y="127461"/>
                  </a:lnTo>
                  <a:lnTo>
                    <a:pt x="1538503" y="122909"/>
                  </a:lnTo>
                  <a:close/>
                </a:path>
                <a:path w="1965960" h="1374775">
                  <a:moveTo>
                    <a:pt x="1533404" y="118356"/>
                  </a:moveTo>
                  <a:lnTo>
                    <a:pt x="430363" y="118356"/>
                  </a:lnTo>
                  <a:lnTo>
                    <a:pt x="428634" y="122909"/>
                  </a:lnTo>
                  <a:lnTo>
                    <a:pt x="1536773" y="122909"/>
                  </a:lnTo>
                  <a:lnTo>
                    <a:pt x="1533404" y="118356"/>
                  </a:lnTo>
                  <a:close/>
                </a:path>
                <a:path w="1965960" h="1374775">
                  <a:moveTo>
                    <a:pt x="1524846" y="113804"/>
                  </a:moveTo>
                  <a:lnTo>
                    <a:pt x="440606" y="113804"/>
                  </a:lnTo>
                  <a:lnTo>
                    <a:pt x="438876" y="118356"/>
                  </a:lnTo>
                  <a:lnTo>
                    <a:pt x="1526530" y="118356"/>
                  </a:lnTo>
                  <a:lnTo>
                    <a:pt x="1524846" y="113804"/>
                  </a:lnTo>
                  <a:close/>
                </a:path>
                <a:path w="1965960" h="1374775">
                  <a:moveTo>
                    <a:pt x="1505818" y="104700"/>
                  </a:moveTo>
                  <a:lnTo>
                    <a:pt x="461364" y="104700"/>
                  </a:lnTo>
                  <a:lnTo>
                    <a:pt x="456174" y="109252"/>
                  </a:lnTo>
                  <a:lnTo>
                    <a:pt x="454399" y="109252"/>
                  </a:lnTo>
                  <a:lnTo>
                    <a:pt x="445750" y="113804"/>
                  </a:lnTo>
                  <a:lnTo>
                    <a:pt x="1519656" y="113804"/>
                  </a:lnTo>
                  <a:lnTo>
                    <a:pt x="1505818" y="104700"/>
                  </a:lnTo>
                  <a:close/>
                </a:path>
                <a:path w="1965960" h="1374775">
                  <a:moveTo>
                    <a:pt x="1495302" y="100148"/>
                  </a:moveTo>
                  <a:lnTo>
                    <a:pt x="470149" y="100148"/>
                  </a:lnTo>
                  <a:lnTo>
                    <a:pt x="468374" y="104700"/>
                  </a:lnTo>
                  <a:lnTo>
                    <a:pt x="1497078" y="104700"/>
                  </a:lnTo>
                  <a:lnTo>
                    <a:pt x="1495302" y="100148"/>
                  </a:lnTo>
                  <a:close/>
                </a:path>
                <a:path w="1965960" h="1374775">
                  <a:moveTo>
                    <a:pt x="1482966" y="95595"/>
                  </a:moveTo>
                  <a:lnTo>
                    <a:pt x="482486" y="95595"/>
                  </a:lnTo>
                  <a:lnTo>
                    <a:pt x="475385" y="100148"/>
                  </a:lnTo>
                  <a:lnTo>
                    <a:pt x="1486517" y="100148"/>
                  </a:lnTo>
                  <a:lnTo>
                    <a:pt x="1482966" y="95595"/>
                  </a:lnTo>
                  <a:close/>
                </a:path>
                <a:path w="1965960" h="1374775">
                  <a:moveTo>
                    <a:pt x="1472314" y="91043"/>
                  </a:moveTo>
                  <a:lnTo>
                    <a:pt x="494913" y="91043"/>
                  </a:lnTo>
                  <a:lnTo>
                    <a:pt x="489587" y="95595"/>
                  </a:lnTo>
                  <a:lnTo>
                    <a:pt x="1475864" y="95595"/>
                  </a:lnTo>
                  <a:lnTo>
                    <a:pt x="1472314" y="91043"/>
                  </a:lnTo>
                  <a:close/>
                </a:path>
                <a:path w="1965960" h="1374775">
                  <a:moveTo>
                    <a:pt x="1461525" y="86491"/>
                  </a:moveTo>
                  <a:lnTo>
                    <a:pt x="503881" y="86491"/>
                  </a:lnTo>
                  <a:lnTo>
                    <a:pt x="502106" y="91043"/>
                  </a:lnTo>
                  <a:lnTo>
                    <a:pt x="1463346" y="91043"/>
                  </a:lnTo>
                  <a:lnTo>
                    <a:pt x="1461525" y="86491"/>
                  </a:lnTo>
                  <a:close/>
                </a:path>
                <a:path w="1965960" h="1374775">
                  <a:moveTo>
                    <a:pt x="1437990" y="77387"/>
                  </a:moveTo>
                  <a:lnTo>
                    <a:pt x="527416" y="77387"/>
                  </a:lnTo>
                  <a:lnTo>
                    <a:pt x="525595" y="81939"/>
                  </a:lnTo>
                  <a:lnTo>
                    <a:pt x="518357" y="81939"/>
                  </a:lnTo>
                  <a:lnTo>
                    <a:pt x="511074" y="86491"/>
                  </a:lnTo>
                  <a:lnTo>
                    <a:pt x="1450736" y="86491"/>
                  </a:lnTo>
                  <a:lnTo>
                    <a:pt x="1439811" y="81939"/>
                  </a:lnTo>
                  <a:lnTo>
                    <a:pt x="1437990" y="77387"/>
                  </a:lnTo>
                  <a:close/>
                </a:path>
                <a:path w="1965960" h="1374775">
                  <a:moveTo>
                    <a:pt x="1425199" y="72835"/>
                  </a:moveTo>
                  <a:lnTo>
                    <a:pt x="540253" y="72835"/>
                  </a:lnTo>
                  <a:lnTo>
                    <a:pt x="538387" y="77387"/>
                  </a:lnTo>
                  <a:lnTo>
                    <a:pt x="1428840" y="77387"/>
                  </a:lnTo>
                  <a:lnTo>
                    <a:pt x="1425199" y="72835"/>
                  </a:lnTo>
                  <a:close/>
                </a:path>
                <a:path w="1965960" h="1374775">
                  <a:moveTo>
                    <a:pt x="1412270" y="68282"/>
                  </a:moveTo>
                  <a:lnTo>
                    <a:pt x="553136" y="68282"/>
                  </a:lnTo>
                  <a:lnTo>
                    <a:pt x="551315" y="72835"/>
                  </a:lnTo>
                  <a:lnTo>
                    <a:pt x="1414137" y="72835"/>
                  </a:lnTo>
                  <a:lnTo>
                    <a:pt x="1412270" y="68282"/>
                  </a:lnTo>
                  <a:close/>
                </a:path>
                <a:path w="1965960" h="1374775">
                  <a:moveTo>
                    <a:pt x="1397430" y="63730"/>
                  </a:moveTo>
                  <a:lnTo>
                    <a:pt x="568022" y="63730"/>
                  </a:lnTo>
                  <a:lnTo>
                    <a:pt x="564289" y="68282"/>
                  </a:lnTo>
                  <a:lnTo>
                    <a:pt x="1399297" y="68282"/>
                  </a:lnTo>
                  <a:lnTo>
                    <a:pt x="1397430" y="63730"/>
                  </a:lnTo>
                  <a:close/>
                </a:path>
                <a:path w="1965960" h="1374775">
                  <a:moveTo>
                    <a:pt x="1384320" y="59178"/>
                  </a:moveTo>
                  <a:lnTo>
                    <a:pt x="581132" y="59178"/>
                  </a:lnTo>
                  <a:lnTo>
                    <a:pt x="579265" y="63730"/>
                  </a:lnTo>
                  <a:lnTo>
                    <a:pt x="1386186" y="63730"/>
                  </a:lnTo>
                  <a:lnTo>
                    <a:pt x="1384320" y="59178"/>
                  </a:lnTo>
                  <a:close/>
                </a:path>
                <a:path w="1965960" h="1374775">
                  <a:moveTo>
                    <a:pt x="1369207" y="54626"/>
                  </a:moveTo>
                  <a:lnTo>
                    <a:pt x="596200" y="54626"/>
                  </a:lnTo>
                  <a:lnTo>
                    <a:pt x="594333" y="59178"/>
                  </a:lnTo>
                  <a:lnTo>
                    <a:pt x="1371119" y="59178"/>
                  </a:lnTo>
                  <a:lnTo>
                    <a:pt x="1369207" y="54626"/>
                  </a:lnTo>
                  <a:close/>
                </a:path>
                <a:path w="1965960" h="1374775">
                  <a:moveTo>
                    <a:pt x="1354048" y="50074"/>
                  </a:moveTo>
                  <a:lnTo>
                    <a:pt x="613316" y="50074"/>
                  </a:lnTo>
                  <a:lnTo>
                    <a:pt x="607580" y="54626"/>
                  </a:lnTo>
                  <a:lnTo>
                    <a:pt x="1355914" y="54626"/>
                  </a:lnTo>
                  <a:lnTo>
                    <a:pt x="1354048" y="50074"/>
                  </a:lnTo>
                  <a:close/>
                </a:path>
                <a:path w="1965960" h="1374775">
                  <a:moveTo>
                    <a:pt x="1336795" y="45521"/>
                  </a:moveTo>
                  <a:lnTo>
                    <a:pt x="628611" y="45521"/>
                  </a:lnTo>
                  <a:lnTo>
                    <a:pt x="626699" y="50074"/>
                  </a:lnTo>
                  <a:lnTo>
                    <a:pt x="1338753" y="50074"/>
                  </a:lnTo>
                  <a:lnTo>
                    <a:pt x="1336795" y="45521"/>
                  </a:lnTo>
                  <a:close/>
                </a:path>
                <a:path w="1965960" h="1374775">
                  <a:moveTo>
                    <a:pt x="1319451" y="40969"/>
                  </a:moveTo>
                  <a:lnTo>
                    <a:pt x="645955" y="40969"/>
                  </a:lnTo>
                  <a:lnTo>
                    <a:pt x="644043" y="45521"/>
                  </a:lnTo>
                  <a:lnTo>
                    <a:pt x="1321409" y="45521"/>
                  </a:lnTo>
                  <a:lnTo>
                    <a:pt x="1319451" y="40969"/>
                  </a:lnTo>
                  <a:close/>
                </a:path>
                <a:path w="1965960" h="1374775">
                  <a:moveTo>
                    <a:pt x="1298101" y="36417"/>
                  </a:moveTo>
                  <a:lnTo>
                    <a:pt x="665393" y="36417"/>
                  </a:lnTo>
                  <a:lnTo>
                    <a:pt x="661478" y="40969"/>
                  </a:lnTo>
                  <a:lnTo>
                    <a:pt x="1303974" y="40969"/>
                  </a:lnTo>
                  <a:lnTo>
                    <a:pt x="1298101" y="36417"/>
                  </a:lnTo>
                  <a:close/>
                </a:path>
                <a:path w="1965960" h="1374775">
                  <a:moveTo>
                    <a:pt x="1282487" y="31865"/>
                  </a:moveTo>
                  <a:lnTo>
                    <a:pt x="682964" y="31865"/>
                  </a:lnTo>
                  <a:lnTo>
                    <a:pt x="677092" y="36417"/>
                  </a:lnTo>
                  <a:lnTo>
                    <a:pt x="1288360" y="36417"/>
                  </a:lnTo>
                  <a:lnTo>
                    <a:pt x="1282487" y="31865"/>
                  </a:lnTo>
                  <a:close/>
                </a:path>
                <a:path w="1965960" h="1374775">
                  <a:moveTo>
                    <a:pt x="1260819" y="27313"/>
                  </a:moveTo>
                  <a:lnTo>
                    <a:pt x="704587" y="27313"/>
                  </a:lnTo>
                  <a:lnTo>
                    <a:pt x="700672" y="31865"/>
                  </a:lnTo>
                  <a:lnTo>
                    <a:pt x="1262822" y="31865"/>
                  </a:lnTo>
                  <a:lnTo>
                    <a:pt x="1260819" y="27313"/>
                  </a:lnTo>
                  <a:close/>
                </a:path>
                <a:path w="1965960" h="1374775">
                  <a:moveTo>
                    <a:pt x="1239060" y="22760"/>
                  </a:moveTo>
                  <a:lnTo>
                    <a:pt x="726392" y="22760"/>
                  </a:lnTo>
                  <a:lnTo>
                    <a:pt x="724389" y="27313"/>
                  </a:lnTo>
                  <a:lnTo>
                    <a:pt x="1241017" y="27313"/>
                  </a:lnTo>
                  <a:lnTo>
                    <a:pt x="1239060" y="22760"/>
                  </a:lnTo>
                  <a:close/>
                </a:path>
                <a:path w="1965960" h="1374775">
                  <a:moveTo>
                    <a:pt x="1213112" y="18208"/>
                  </a:moveTo>
                  <a:lnTo>
                    <a:pt x="752294" y="18208"/>
                  </a:lnTo>
                  <a:lnTo>
                    <a:pt x="750291" y="22760"/>
                  </a:lnTo>
                  <a:lnTo>
                    <a:pt x="1215115" y="22760"/>
                  </a:lnTo>
                  <a:lnTo>
                    <a:pt x="1213112" y="18208"/>
                  </a:lnTo>
                  <a:close/>
                </a:path>
                <a:path w="1965960" h="1374775">
                  <a:moveTo>
                    <a:pt x="1183022" y="13656"/>
                  </a:moveTo>
                  <a:lnTo>
                    <a:pt x="782430" y="13656"/>
                  </a:lnTo>
                  <a:lnTo>
                    <a:pt x="780427" y="18208"/>
                  </a:lnTo>
                  <a:lnTo>
                    <a:pt x="1185025" y="18208"/>
                  </a:lnTo>
                  <a:lnTo>
                    <a:pt x="1183022" y="13656"/>
                  </a:lnTo>
                  <a:close/>
                </a:path>
                <a:path w="1965960" h="1374775">
                  <a:moveTo>
                    <a:pt x="1150656" y="9104"/>
                  </a:moveTo>
                  <a:lnTo>
                    <a:pt x="814796" y="9104"/>
                  </a:lnTo>
                  <a:lnTo>
                    <a:pt x="812747" y="13656"/>
                  </a:lnTo>
                  <a:lnTo>
                    <a:pt x="1152705" y="13656"/>
                  </a:lnTo>
                  <a:lnTo>
                    <a:pt x="1150656" y="9104"/>
                  </a:lnTo>
                  <a:close/>
                </a:path>
                <a:path w="1965960" h="1374775">
                  <a:moveTo>
                    <a:pt x="1103860" y="4552"/>
                  </a:moveTo>
                  <a:lnTo>
                    <a:pt x="861592" y="4552"/>
                  </a:lnTo>
                  <a:lnTo>
                    <a:pt x="855447" y="9104"/>
                  </a:lnTo>
                  <a:lnTo>
                    <a:pt x="1109960" y="9104"/>
                  </a:lnTo>
                  <a:lnTo>
                    <a:pt x="1103860" y="4552"/>
                  </a:lnTo>
                  <a:close/>
                </a:path>
                <a:path w="1965960" h="1374775">
                  <a:moveTo>
                    <a:pt x="1036214" y="0"/>
                  </a:moveTo>
                  <a:lnTo>
                    <a:pt x="929238" y="0"/>
                  </a:lnTo>
                  <a:lnTo>
                    <a:pt x="927189" y="4552"/>
                  </a:lnTo>
                  <a:lnTo>
                    <a:pt x="1038263" y="4552"/>
                  </a:lnTo>
                  <a:lnTo>
                    <a:pt x="1036214" y="0"/>
                  </a:lnTo>
                  <a:close/>
                </a:path>
              </a:pathLst>
            </a:custGeom>
            <a:solidFill>
              <a:schemeClr val="accent2">
                <a:alpha val="49798"/>
              </a:schemeClr>
            </a:solidFill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grpSp>
          <p:nvGrpSpPr>
            <p:cNvPr id="21" name="Gruppieren 20"/>
            <p:cNvGrpSpPr/>
            <p:nvPr/>
          </p:nvGrpSpPr>
          <p:grpSpPr>
            <a:xfrm>
              <a:off x="1790700" y="1557268"/>
              <a:ext cx="3144291" cy="1671192"/>
              <a:chOff x="1790700" y="1557268"/>
              <a:chExt cx="3144291" cy="1671192"/>
            </a:xfrm>
          </p:grpSpPr>
          <p:sp>
            <p:nvSpPr>
              <p:cNvPr id="22" name="object 19"/>
              <p:cNvSpPr/>
              <p:nvPr/>
            </p:nvSpPr>
            <p:spPr>
              <a:xfrm>
                <a:off x="2745947" y="1853685"/>
                <a:ext cx="1965960" cy="1374775"/>
              </a:xfrm>
              <a:custGeom>
                <a:avLst/>
                <a:gdLst/>
                <a:ahLst/>
                <a:cxnLst/>
                <a:rect l="l" t="t" r="r" b="b"/>
                <a:pathLst>
                  <a:path w="1965960" h="1374775">
                    <a:moveTo>
                      <a:pt x="1095666" y="1370208"/>
                    </a:moveTo>
                    <a:lnTo>
                      <a:pt x="869786" y="1370208"/>
                    </a:lnTo>
                    <a:lnTo>
                      <a:pt x="871835" y="1374760"/>
                    </a:lnTo>
                    <a:lnTo>
                      <a:pt x="1093617" y="1374760"/>
                    </a:lnTo>
                    <a:lnTo>
                      <a:pt x="1095666" y="1370208"/>
                    </a:lnTo>
                    <a:close/>
                  </a:path>
                  <a:path w="1965960" h="1374775">
                    <a:moveTo>
                      <a:pt x="1144556" y="1365656"/>
                    </a:moveTo>
                    <a:lnTo>
                      <a:pt x="820850" y="1365656"/>
                    </a:lnTo>
                    <a:lnTo>
                      <a:pt x="835098" y="1370208"/>
                    </a:lnTo>
                    <a:lnTo>
                      <a:pt x="1130353" y="1370208"/>
                    </a:lnTo>
                    <a:lnTo>
                      <a:pt x="1144556" y="1365656"/>
                    </a:lnTo>
                    <a:close/>
                  </a:path>
                  <a:path w="1965960" h="1374775">
                    <a:moveTo>
                      <a:pt x="1178971" y="1361104"/>
                    </a:moveTo>
                    <a:lnTo>
                      <a:pt x="786481" y="1361104"/>
                    </a:lnTo>
                    <a:lnTo>
                      <a:pt x="806647" y="1365656"/>
                    </a:lnTo>
                    <a:lnTo>
                      <a:pt x="1158759" y="1365656"/>
                    </a:lnTo>
                    <a:lnTo>
                      <a:pt x="1178971" y="1361104"/>
                    </a:lnTo>
                    <a:close/>
                  </a:path>
                  <a:path w="1965960" h="1374775">
                    <a:moveTo>
                      <a:pt x="1209106" y="1356552"/>
                    </a:moveTo>
                    <a:lnTo>
                      <a:pt x="756300" y="1356552"/>
                    </a:lnTo>
                    <a:lnTo>
                      <a:pt x="774372" y="1361104"/>
                    </a:lnTo>
                    <a:lnTo>
                      <a:pt x="1191080" y="1361104"/>
                    </a:lnTo>
                    <a:lnTo>
                      <a:pt x="1209106" y="1356552"/>
                    </a:lnTo>
                    <a:close/>
                  </a:path>
                  <a:path w="1965960" h="1374775">
                    <a:moveTo>
                      <a:pt x="1239060" y="1351999"/>
                    </a:moveTo>
                    <a:lnTo>
                      <a:pt x="724389" y="1351999"/>
                    </a:lnTo>
                    <a:lnTo>
                      <a:pt x="744328" y="1356552"/>
                    </a:lnTo>
                    <a:lnTo>
                      <a:pt x="1221124" y="1356552"/>
                    </a:lnTo>
                    <a:lnTo>
                      <a:pt x="1239060" y="1351999"/>
                    </a:lnTo>
                    <a:close/>
                  </a:path>
                  <a:path w="1965960" h="1374775">
                    <a:moveTo>
                      <a:pt x="1256904" y="1347447"/>
                    </a:moveTo>
                    <a:lnTo>
                      <a:pt x="706590" y="1347447"/>
                    </a:lnTo>
                    <a:lnTo>
                      <a:pt x="710505" y="1351999"/>
                    </a:lnTo>
                    <a:lnTo>
                      <a:pt x="1254901" y="1351999"/>
                    </a:lnTo>
                    <a:lnTo>
                      <a:pt x="1256904" y="1347447"/>
                    </a:lnTo>
                    <a:close/>
                  </a:path>
                  <a:path w="1965960" h="1374775">
                    <a:moveTo>
                      <a:pt x="1278573" y="1342895"/>
                    </a:moveTo>
                    <a:lnTo>
                      <a:pt x="684922" y="1342895"/>
                    </a:lnTo>
                    <a:lnTo>
                      <a:pt x="688837" y="1347447"/>
                    </a:lnTo>
                    <a:lnTo>
                      <a:pt x="1276570" y="1347447"/>
                    </a:lnTo>
                    <a:lnTo>
                      <a:pt x="1278573" y="1342895"/>
                    </a:lnTo>
                    <a:close/>
                  </a:path>
                  <a:path w="1965960" h="1374775">
                    <a:moveTo>
                      <a:pt x="1300059" y="1338343"/>
                    </a:moveTo>
                    <a:lnTo>
                      <a:pt x="665393" y="1338343"/>
                    </a:lnTo>
                    <a:lnTo>
                      <a:pt x="667305" y="1342895"/>
                    </a:lnTo>
                    <a:lnTo>
                      <a:pt x="1298101" y="1342895"/>
                    </a:lnTo>
                    <a:lnTo>
                      <a:pt x="1300059" y="1338343"/>
                    </a:lnTo>
                    <a:close/>
                  </a:path>
                  <a:path w="1965960" h="1374775">
                    <a:moveTo>
                      <a:pt x="1317539" y="1333791"/>
                    </a:moveTo>
                    <a:lnTo>
                      <a:pt x="647912" y="1333791"/>
                    </a:lnTo>
                    <a:lnTo>
                      <a:pt x="649824" y="1338343"/>
                    </a:lnTo>
                    <a:lnTo>
                      <a:pt x="1315582" y="1338343"/>
                    </a:lnTo>
                    <a:lnTo>
                      <a:pt x="1317539" y="1333791"/>
                    </a:lnTo>
                    <a:close/>
                  </a:path>
                  <a:path w="1965960" h="1374775">
                    <a:moveTo>
                      <a:pt x="1334883" y="1329238"/>
                    </a:moveTo>
                    <a:lnTo>
                      <a:pt x="630523" y="1329238"/>
                    </a:lnTo>
                    <a:lnTo>
                      <a:pt x="632481" y="1333791"/>
                    </a:lnTo>
                    <a:lnTo>
                      <a:pt x="1332971" y="1333791"/>
                    </a:lnTo>
                    <a:lnTo>
                      <a:pt x="1334883" y="1329238"/>
                    </a:lnTo>
                    <a:close/>
                  </a:path>
                  <a:path w="1965960" h="1374775">
                    <a:moveTo>
                      <a:pt x="1354048" y="1324686"/>
                    </a:moveTo>
                    <a:lnTo>
                      <a:pt x="607580" y="1324686"/>
                    </a:lnTo>
                    <a:lnTo>
                      <a:pt x="615228" y="1329238"/>
                    </a:lnTo>
                    <a:lnTo>
                      <a:pt x="1350224" y="1329238"/>
                    </a:lnTo>
                    <a:lnTo>
                      <a:pt x="1354048" y="1324686"/>
                    </a:lnTo>
                    <a:close/>
                  </a:path>
                  <a:path w="1965960" h="1374775">
                    <a:moveTo>
                      <a:pt x="1367340" y="1320134"/>
                    </a:moveTo>
                    <a:lnTo>
                      <a:pt x="598112" y="1320134"/>
                    </a:lnTo>
                    <a:lnTo>
                      <a:pt x="600023" y="1324686"/>
                    </a:lnTo>
                    <a:lnTo>
                      <a:pt x="1363516" y="1324686"/>
                    </a:lnTo>
                    <a:lnTo>
                      <a:pt x="1367340" y="1320134"/>
                    </a:lnTo>
                    <a:close/>
                  </a:path>
                  <a:path w="1965960" h="1374775">
                    <a:moveTo>
                      <a:pt x="1382408" y="1315582"/>
                    </a:moveTo>
                    <a:lnTo>
                      <a:pt x="582998" y="1315582"/>
                    </a:lnTo>
                    <a:lnTo>
                      <a:pt x="584910" y="1320134"/>
                    </a:lnTo>
                    <a:lnTo>
                      <a:pt x="1380542" y="1320134"/>
                    </a:lnTo>
                    <a:lnTo>
                      <a:pt x="1382408" y="1315582"/>
                    </a:lnTo>
                    <a:close/>
                  </a:path>
                  <a:path w="1965960" h="1374775">
                    <a:moveTo>
                      <a:pt x="1397430" y="1311030"/>
                    </a:moveTo>
                    <a:lnTo>
                      <a:pt x="568022" y="1311030"/>
                    </a:lnTo>
                    <a:lnTo>
                      <a:pt x="573621" y="1315582"/>
                    </a:lnTo>
                    <a:lnTo>
                      <a:pt x="1395564" y="1315582"/>
                    </a:lnTo>
                    <a:lnTo>
                      <a:pt x="1397430" y="1311030"/>
                    </a:lnTo>
                    <a:close/>
                  </a:path>
                  <a:path w="1965960" h="1374775">
                    <a:moveTo>
                      <a:pt x="1410404" y="1306477"/>
                    </a:moveTo>
                    <a:lnTo>
                      <a:pt x="555002" y="1306477"/>
                    </a:lnTo>
                    <a:lnTo>
                      <a:pt x="556869" y="1311030"/>
                    </a:lnTo>
                    <a:lnTo>
                      <a:pt x="1408583" y="1311030"/>
                    </a:lnTo>
                    <a:lnTo>
                      <a:pt x="1410404" y="1306477"/>
                    </a:lnTo>
                    <a:close/>
                  </a:path>
                  <a:path w="1965960" h="1374775">
                    <a:moveTo>
                      <a:pt x="1423332" y="1301925"/>
                    </a:moveTo>
                    <a:lnTo>
                      <a:pt x="542074" y="1301925"/>
                    </a:lnTo>
                    <a:lnTo>
                      <a:pt x="543940" y="1306477"/>
                    </a:lnTo>
                    <a:lnTo>
                      <a:pt x="1419690" y="1306477"/>
                    </a:lnTo>
                    <a:lnTo>
                      <a:pt x="1423332" y="1301925"/>
                    </a:lnTo>
                    <a:close/>
                  </a:path>
                  <a:path w="1965960" h="1374775">
                    <a:moveTo>
                      <a:pt x="1437990" y="1297373"/>
                    </a:moveTo>
                    <a:lnTo>
                      <a:pt x="529237" y="1297373"/>
                    </a:lnTo>
                    <a:lnTo>
                      <a:pt x="531103" y="1301925"/>
                    </a:lnTo>
                    <a:lnTo>
                      <a:pt x="1434348" y="1301925"/>
                    </a:lnTo>
                    <a:lnTo>
                      <a:pt x="1437990" y="1297373"/>
                    </a:lnTo>
                    <a:close/>
                  </a:path>
                  <a:path w="1965960" h="1374775">
                    <a:moveTo>
                      <a:pt x="1450736" y="1292821"/>
                    </a:moveTo>
                    <a:lnTo>
                      <a:pt x="511074" y="1292821"/>
                    </a:lnTo>
                    <a:lnTo>
                      <a:pt x="518357" y="1297373"/>
                    </a:lnTo>
                    <a:lnTo>
                      <a:pt x="1439811" y="1297373"/>
                    </a:lnTo>
                    <a:lnTo>
                      <a:pt x="1450736" y="1292821"/>
                    </a:lnTo>
                    <a:close/>
                  </a:path>
                  <a:path w="1965960" h="1374775">
                    <a:moveTo>
                      <a:pt x="1459750" y="1288269"/>
                    </a:moveTo>
                    <a:lnTo>
                      <a:pt x="505702" y="1288269"/>
                    </a:lnTo>
                    <a:lnTo>
                      <a:pt x="507477" y="1292821"/>
                    </a:lnTo>
                    <a:lnTo>
                      <a:pt x="1457929" y="1292821"/>
                    </a:lnTo>
                    <a:lnTo>
                      <a:pt x="1459750" y="1288269"/>
                    </a:lnTo>
                    <a:close/>
                  </a:path>
                  <a:path w="1965960" h="1374775">
                    <a:moveTo>
                      <a:pt x="1472314" y="1283717"/>
                    </a:moveTo>
                    <a:lnTo>
                      <a:pt x="491363" y="1283717"/>
                    </a:lnTo>
                    <a:lnTo>
                      <a:pt x="494913" y="1288269"/>
                    </a:lnTo>
                    <a:lnTo>
                      <a:pt x="1470493" y="1288269"/>
                    </a:lnTo>
                    <a:lnTo>
                      <a:pt x="1472314" y="1283717"/>
                    </a:lnTo>
                    <a:close/>
                  </a:path>
                  <a:path w="1965960" h="1374775">
                    <a:moveTo>
                      <a:pt x="1484741" y="1279164"/>
                    </a:moveTo>
                    <a:lnTo>
                      <a:pt x="480711" y="1279164"/>
                    </a:lnTo>
                    <a:lnTo>
                      <a:pt x="489587" y="1283717"/>
                    </a:lnTo>
                    <a:lnTo>
                      <a:pt x="1475864" y="1283717"/>
                    </a:lnTo>
                    <a:lnTo>
                      <a:pt x="1484741" y="1279164"/>
                    </a:lnTo>
                    <a:close/>
                  </a:path>
                  <a:path w="1965960" h="1374775">
                    <a:moveTo>
                      <a:pt x="1493572" y="1274612"/>
                    </a:moveTo>
                    <a:lnTo>
                      <a:pt x="471879" y="1274612"/>
                    </a:lnTo>
                    <a:lnTo>
                      <a:pt x="473655" y="1279164"/>
                    </a:lnTo>
                    <a:lnTo>
                      <a:pt x="1491797" y="1279164"/>
                    </a:lnTo>
                    <a:lnTo>
                      <a:pt x="1493572" y="1274612"/>
                    </a:lnTo>
                    <a:close/>
                  </a:path>
                  <a:path w="1965960" h="1374775">
                    <a:moveTo>
                      <a:pt x="1504042" y="1270060"/>
                    </a:moveTo>
                    <a:lnTo>
                      <a:pt x="461364" y="1270060"/>
                    </a:lnTo>
                    <a:lnTo>
                      <a:pt x="463139" y="1274612"/>
                    </a:lnTo>
                    <a:lnTo>
                      <a:pt x="1500583" y="1274612"/>
                    </a:lnTo>
                    <a:lnTo>
                      <a:pt x="1504042" y="1270060"/>
                    </a:lnTo>
                    <a:close/>
                  </a:path>
                  <a:path w="1965960" h="1374775">
                    <a:moveTo>
                      <a:pt x="1514467" y="1265508"/>
                    </a:moveTo>
                    <a:lnTo>
                      <a:pt x="450939" y="1265508"/>
                    </a:lnTo>
                    <a:lnTo>
                      <a:pt x="452669" y="1270060"/>
                    </a:lnTo>
                    <a:lnTo>
                      <a:pt x="1512737" y="1270060"/>
                    </a:lnTo>
                    <a:lnTo>
                      <a:pt x="1514467" y="1265508"/>
                    </a:lnTo>
                    <a:close/>
                  </a:path>
                  <a:path w="1965960" h="1374775">
                    <a:moveTo>
                      <a:pt x="1524846" y="1260956"/>
                    </a:moveTo>
                    <a:lnTo>
                      <a:pt x="440606" y="1260956"/>
                    </a:lnTo>
                    <a:lnTo>
                      <a:pt x="442336" y="1265508"/>
                    </a:lnTo>
                    <a:lnTo>
                      <a:pt x="1523116" y="1265508"/>
                    </a:lnTo>
                    <a:lnTo>
                      <a:pt x="1524846" y="1260956"/>
                    </a:lnTo>
                    <a:close/>
                  </a:path>
                  <a:path w="1965960" h="1374775">
                    <a:moveTo>
                      <a:pt x="1536773" y="1256403"/>
                    </a:moveTo>
                    <a:lnTo>
                      <a:pt x="430363" y="1256403"/>
                    </a:lnTo>
                    <a:lnTo>
                      <a:pt x="432048" y="1260956"/>
                    </a:lnTo>
                    <a:lnTo>
                      <a:pt x="1533404" y="1260956"/>
                    </a:lnTo>
                    <a:lnTo>
                      <a:pt x="1536773" y="1256403"/>
                    </a:lnTo>
                    <a:close/>
                  </a:path>
                  <a:path w="1965960" h="1374775">
                    <a:moveTo>
                      <a:pt x="1550293" y="1251851"/>
                    </a:moveTo>
                    <a:lnTo>
                      <a:pt x="421851" y="1251851"/>
                    </a:lnTo>
                    <a:lnTo>
                      <a:pt x="423581" y="1256403"/>
                    </a:lnTo>
                    <a:lnTo>
                      <a:pt x="1538503" y="1256403"/>
                    </a:lnTo>
                    <a:lnTo>
                      <a:pt x="1550293" y="1251851"/>
                    </a:lnTo>
                    <a:close/>
                  </a:path>
                  <a:path w="1965960" h="1374775">
                    <a:moveTo>
                      <a:pt x="1555346" y="1247299"/>
                    </a:moveTo>
                    <a:lnTo>
                      <a:pt x="411790" y="1247299"/>
                    </a:lnTo>
                    <a:lnTo>
                      <a:pt x="413429" y="1251851"/>
                    </a:lnTo>
                    <a:lnTo>
                      <a:pt x="1551977" y="1251851"/>
                    </a:lnTo>
                    <a:lnTo>
                      <a:pt x="1555346" y="1247299"/>
                    </a:lnTo>
                    <a:close/>
                  </a:path>
                  <a:path w="1965960" h="1374775">
                    <a:moveTo>
                      <a:pt x="1561992" y="1242747"/>
                    </a:moveTo>
                    <a:lnTo>
                      <a:pt x="403414" y="1242747"/>
                    </a:lnTo>
                    <a:lnTo>
                      <a:pt x="405099" y="1247299"/>
                    </a:lnTo>
                    <a:lnTo>
                      <a:pt x="1560353" y="1247299"/>
                    </a:lnTo>
                    <a:lnTo>
                      <a:pt x="1561992" y="1242747"/>
                    </a:lnTo>
                    <a:close/>
                  </a:path>
                  <a:path w="1965960" h="1374775">
                    <a:moveTo>
                      <a:pt x="1581794" y="1233642"/>
                    </a:moveTo>
                    <a:lnTo>
                      <a:pt x="383658" y="1233642"/>
                    </a:lnTo>
                    <a:lnTo>
                      <a:pt x="395129" y="1242747"/>
                    </a:lnTo>
                    <a:lnTo>
                      <a:pt x="1566999" y="1242747"/>
                    </a:lnTo>
                    <a:lnTo>
                      <a:pt x="1571916" y="1238195"/>
                    </a:lnTo>
                    <a:lnTo>
                      <a:pt x="1573600" y="1238195"/>
                    </a:lnTo>
                    <a:lnTo>
                      <a:pt x="1581794" y="1233642"/>
                    </a:lnTo>
                    <a:close/>
                  </a:path>
                  <a:path w="1965960" h="1374775">
                    <a:moveTo>
                      <a:pt x="1588258" y="1229090"/>
                    </a:moveTo>
                    <a:lnTo>
                      <a:pt x="377148" y="1229090"/>
                    </a:lnTo>
                    <a:lnTo>
                      <a:pt x="378787" y="1233642"/>
                    </a:lnTo>
                    <a:lnTo>
                      <a:pt x="1586665" y="1233642"/>
                    </a:lnTo>
                    <a:lnTo>
                      <a:pt x="1588258" y="1229090"/>
                    </a:lnTo>
                    <a:close/>
                  </a:path>
                  <a:path w="1965960" h="1374775">
                    <a:moveTo>
                      <a:pt x="1596361" y="1224538"/>
                    </a:moveTo>
                    <a:lnTo>
                      <a:pt x="367498" y="1224538"/>
                    </a:lnTo>
                    <a:lnTo>
                      <a:pt x="370684" y="1229090"/>
                    </a:lnTo>
                    <a:lnTo>
                      <a:pt x="1594722" y="1229090"/>
                    </a:lnTo>
                    <a:lnTo>
                      <a:pt x="1596361" y="1224538"/>
                    </a:lnTo>
                    <a:close/>
                  </a:path>
                  <a:path w="1965960" h="1374775">
                    <a:moveTo>
                      <a:pt x="1612293" y="1215434"/>
                    </a:moveTo>
                    <a:lnTo>
                      <a:pt x="353158" y="1215434"/>
                    </a:lnTo>
                    <a:lnTo>
                      <a:pt x="354706" y="1219986"/>
                    </a:lnTo>
                    <a:lnTo>
                      <a:pt x="365859" y="1224538"/>
                    </a:lnTo>
                    <a:lnTo>
                      <a:pt x="1602779" y="1224538"/>
                    </a:lnTo>
                    <a:lnTo>
                      <a:pt x="1607559" y="1219986"/>
                    </a:lnTo>
                    <a:lnTo>
                      <a:pt x="1609107" y="1219986"/>
                    </a:lnTo>
                    <a:lnTo>
                      <a:pt x="1612293" y="1215434"/>
                    </a:lnTo>
                    <a:close/>
                  </a:path>
                  <a:path w="1965960" h="1374775">
                    <a:moveTo>
                      <a:pt x="1620169" y="1210882"/>
                    </a:moveTo>
                    <a:lnTo>
                      <a:pt x="345283" y="1210882"/>
                    </a:lnTo>
                    <a:lnTo>
                      <a:pt x="346831" y="1215434"/>
                    </a:lnTo>
                    <a:lnTo>
                      <a:pt x="1618576" y="1215434"/>
                    </a:lnTo>
                    <a:lnTo>
                      <a:pt x="1620169" y="1210882"/>
                    </a:lnTo>
                    <a:close/>
                  </a:path>
                  <a:path w="1965960" h="1374775">
                    <a:moveTo>
                      <a:pt x="1627953" y="1206329"/>
                    </a:moveTo>
                    <a:lnTo>
                      <a:pt x="337499" y="1206329"/>
                    </a:lnTo>
                    <a:lnTo>
                      <a:pt x="342142" y="1210882"/>
                    </a:lnTo>
                    <a:lnTo>
                      <a:pt x="1624858" y="1210882"/>
                    </a:lnTo>
                    <a:lnTo>
                      <a:pt x="1627953" y="1206329"/>
                    </a:lnTo>
                    <a:close/>
                  </a:path>
                  <a:path w="1965960" h="1374775">
                    <a:moveTo>
                      <a:pt x="1637239" y="1201777"/>
                    </a:moveTo>
                    <a:lnTo>
                      <a:pt x="326665" y="1201777"/>
                    </a:lnTo>
                    <a:lnTo>
                      <a:pt x="335951" y="1206329"/>
                    </a:lnTo>
                    <a:lnTo>
                      <a:pt x="1629501" y="1206329"/>
                    </a:lnTo>
                    <a:lnTo>
                      <a:pt x="1637239" y="1201777"/>
                    </a:lnTo>
                    <a:close/>
                  </a:path>
                  <a:path w="1965960" h="1374775">
                    <a:moveTo>
                      <a:pt x="1641792" y="1197225"/>
                    </a:moveTo>
                    <a:lnTo>
                      <a:pt x="323615" y="1197225"/>
                    </a:lnTo>
                    <a:lnTo>
                      <a:pt x="325162" y="1201777"/>
                    </a:lnTo>
                    <a:lnTo>
                      <a:pt x="1640289" y="1201777"/>
                    </a:lnTo>
                    <a:lnTo>
                      <a:pt x="1641792" y="1197225"/>
                    </a:lnTo>
                    <a:close/>
                  </a:path>
                  <a:path w="1965960" h="1374775">
                    <a:moveTo>
                      <a:pt x="1649394" y="1192673"/>
                    </a:moveTo>
                    <a:lnTo>
                      <a:pt x="316012" y="1192673"/>
                    </a:lnTo>
                    <a:lnTo>
                      <a:pt x="317560" y="1197225"/>
                    </a:lnTo>
                    <a:lnTo>
                      <a:pt x="1646389" y="1197225"/>
                    </a:lnTo>
                    <a:lnTo>
                      <a:pt x="1649394" y="1192673"/>
                    </a:lnTo>
                    <a:close/>
                  </a:path>
                  <a:path w="1965960" h="1374775">
                    <a:moveTo>
                      <a:pt x="1656950" y="1188121"/>
                    </a:moveTo>
                    <a:lnTo>
                      <a:pt x="308501" y="1188121"/>
                    </a:lnTo>
                    <a:lnTo>
                      <a:pt x="310004" y="1192673"/>
                    </a:lnTo>
                    <a:lnTo>
                      <a:pt x="1655448" y="1192673"/>
                    </a:lnTo>
                    <a:lnTo>
                      <a:pt x="1656950" y="1188121"/>
                    </a:lnTo>
                    <a:close/>
                  </a:path>
                  <a:path w="1965960" h="1374775">
                    <a:moveTo>
                      <a:pt x="1662914" y="1183568"/>
                    </a:moveTo>
                    <a:lnTo>
                      <a:pt x="302538" y="1183568"/>
                    </a:lnTo>
                    <a:lnTo>
                      <a:pt x="304040" y="1188121"/>
                    </a:lnTo>
                    <a:lnTo>
                      <a:pt x="1658407" y="1188121"/>
                    </a:lnTo>
                    <a:lnTo>
                      <a:pt x="1662914" y="1183568"/>
                    </a:lnTo>
                    <a:close/>
                  </a:path>
                  <a:path w="1965960" h="1374775">
                    <a:moveTo>
                      <a:pt x="1673202" y="1179016"/>
                    </a:moveTo>
                    <a:lnTo>
                      <a:pt x="295163" y="1179016"/>
                    </a:lnTo>
                    <a:lnTo>
                      <a:pt x="296620" y="1183568"/>
                    </a:lnTo>
                    <a:lnTo>
                      <a:pt x="1668832" y="1183568"/>
                    </a:lnTo>
                    <a:lnTo>
                      <a:pt x="1673202" y="1179016"/>
                    </a:lnTo>
                    <a:close/>
                  </a:path>
                  <a:path w="1965960" h="1374775">
                    <a:moveTo>
                      <a:pt x="1676161" y="1174464"/>
                    </a:moveTo>
                    <a:lnTo>
                      <a:pt x="289291" y="1174464"/>
                    </a:lnTo>
                    <a:lnTo>
                      <a:pt x="290748" y="1179016"/>
                    </a:lnTo>
                    <a:lnTo>
                      <a:pt x="1674704" y="1179016"/>
                    </a:lnTo>
                    <a:lnTo>
                      <a:pt x="1676161" y="1174464"/>
                    </a:lnTo>
                    <a:close/>
                  </a:path>
                  <a:path w="1965960" h="1374775">
                    <a:moveTo>
                      <a:pt x="1683399" y="1169912"/>
                    </a:moveTo>
                    <a:lnTo>
                      <a:pt x="282053" y="1169912"/>
                    </a:lnTo>
                    <a:lnTo>
                      <a:pt x="283464" y="1174464"/>
                    </a:lnTo>
                    <a:lnTo>
                      <a:pt x="1681942" y="1174464"/>
                    </a:lnTo>
                    <a:lnTo>
                      <a:pt x="1683399" y="1169912"/>
                    </a:lnTo>
                    <a:close/>
                  </a:path>
                  <a:path w="1965960" h="1374775">
                    <a:moveTo>
                      <a:pt x="1689134" y="1165360"/>
                    </a:moveTo>
                    <a:lnTo>
                      <a:pt x="276272" y="1165360"/>
                    </a:lnTo>
                    <a:lnTo>
                      <a:pt x="277728" y="1169912"/>
                    </a:lnTo>
                    <a:lnTo>
                      <a:pt x="1687723" y="1169912"/>
                    </a:lnTo>
                    <a:lnTo>
                      <a:pt x="1689134" y="1165360"/>
                    </a:lnTo>
                    <a:close/>
                  </a:path>
                  <a:path w="1965960" h="1374775">
                    <a:moveTo>
                      <a:pt x="1701881" y="1156255"/>
                    </a:moveTo>
                    <a:lnTo>
                      <a:pt x="262114" y="1156255"/>
                    </a:lnTo>
                    <a:lnTo>
                      <a:pt x="271993" y="1165360"/>
                    </a:lnTo>
                    <a:lnTo>
                      <a:pt x="1694825" y="1165360"/>
                    </a:lnTo>
                    <a:lnTo>
                      <a:pt x="1696281" y="1160807"/>
                    </a:lnTo>
                    <a:lnTo>
                      <a:pt x="1700515" y="1160807"/>
                    </a:lnTo>
                    <a:lnTo>
                      <a:pt x="1701881" y="1156255"/>
                    </a:lnTo>
                    <a:close/>
                  </a:path>
                  <a:path w="1965960" h="1374775">
                    <a:moveTo>
                      <a:pt x="1714399" y="1147151"/>
                    </a:moveTo>
                    <a:lnTo>
                      <a:pt x="251053" y="1147151"/>
                    </a:lnTo>
                    <a:lnTo>
                      <a:pt x="252418" y="1151703"/>
                    </a:lnTo>
                    <a:lnTo>
                      <a:pt x="255195" y="1151703"/>
                    </a:lnTo>
                    <a:lnTo>
                      <a:pt x="259338" y="1156255"/>
                    </a:lnTo>
                    <a:lnTo>
                      <a:pt x="1706114" y="1156255"/>
                    </a:lnTo>
                    <a:lnTo>
                      <a:pt x="1714399" y="1147151"/>
                    </a:lnTo>
                    <a:close/>
                  </a:path>
                  <a:path w="1965960" h="1374775">
                    <a:moveTo>
                      <a:pt x="1726644" y="1138047"/>
                    </a:moveTo>
                    <a:lnTo>
                      <a:pt x="240173" y="1138047"/>
                    </a:lnTo>
                    <a:lnTo>
                      <a:pt x="241493" y="1142599"/>
                    </a:lnTo>
                    <a:lnTo>
                      <a:pt x="242859" y="1142599"/>
                    </a:lnTo>
                    <a:lnTo>
                      <a:pt x="246956" y="1147151"/>
                    </a:lnTo>
                    <a:lnTo>
                      <a:pt x="1718496" y="1147151"/>
                    </a:lnTo>
                    <a:lnTo>
                      <a:pt x="1726644" y="1138047"/>
                    </a:lnTo>
                    <a:close/>
                  </a:path>
                  <a:path w="1965960" h="1374775">
                    <a:moveTo>
                      <a:pt x="1731971" y="1133494"/>
                    </a:moveTo>
                    <a:lnTo>
                      <a:pt x="234801" y="1133494"/>
                    </a:lnTo>
                    <a:lnTo>
                      <a:pt x="237442" y="1138047"/>
                    </a:lnTo>
                    <a:lnTo>
                      <a:pt x="1729330" y="1138047"/>
                    </a:lnTo>
                    <a:lnTo>
                      <a:pt x="1731971" y="1133494"/>
                    </a:lnTo>
                    <a:close/>
                  </a:path>
                  <a:path w="1965960" h="1374775">
                    <a:moveTo>
                      <a:pt x="1737297" y="1128942"/>
                    </a:moveTo>
                    <a:lnTo>
                      <a:pt x="228155" y="1128942"/>
                    </a:lnTo>
                    <a:lnTo>
                      <a:pt x="232116" y="1133494"/>
                    </a:lnTo>
                    <a:lnTo>
                      <a:pt x="1734656" y="1133494"/>
                    </a:lnTo>
                    <a:lnTo>
                      <a:pt x="1737297" y="1128942"/>
                    </a:lnTo>
                    <a:close/>
                  </a:path>
                  <a:path w="1965960" h="1374775">
                    <a:moveTo>
                      <a:pt x="1741211" y="1124390"/>
                    </a:moveTo>
                    <a:lnTo>
                      <a:pt x="224195" y="1124390"/>
                    </a:lnTo>
                    <a:lnTo>
                      <a:pt x="226835" y="1128942"/>
                    </a:lnTo>
                    <a:lnTo>
                      <a:pt x="1739891" y="1128942"/>
                    </a:lnTo>
                    <a:lnTo>
                      <a:pt x="1741211" y="1124390"/>
                    </a:lnTo>
                    <a:close/>
                  </a:path>
                  <a:path w="1965960" h="1374775">
                    <a:moveTo>
                      <a:pt x="1746446" y="1119838"/>
                    </a:moveTo>
                    <a:lnTo>
                      <a:pt x="219005" y="1119838"/>
                    </a:lnTo>
                    <a:lnTo>
                      <a:pt x="221600" y="1124390"/>
                    </a:lnTo>
                    <a:lnTo>
                      <a:pt x="1745126" y="1124390"/>
                    </a:lnTo>
                    <a:lnTo>
                      <a:pt x="1746446" y="1119838"/>
                    </a:lnTo>
                    <a:close/>
                  </a:path>
                  <a:path w="1965960" h="1374775">
                    <a:moveTo>
                      <a:pt x="1757964" y="1110733"/>
                    </a:moveTo>
                    <a:lnTo>
                      <a:pt x="207488" y="1110733"/>
                    </a:lnTo>
                    <a:lnTo>
                      <a:pt x="215136" y="1119838"/>
                    </a:lnTo>
                    <a:lnTo>
                      <a:pt x="1750316" y="1119838"/>
                    </a:lnTo>
                    <a:lnTo>
                      <a:pt x="1757964" y="1110733"/>
                    </a:lnTo>
                    <a:close/>
                  </a:path>
                  <a:path w="1965960" h="1374775">
                    <a:moveTo>
                      <a:pt x="1762971" y="1106181"/>
                    </a:moveTo>
                    <a:lnTo>
                      <a:pt x="202435" y="1106181"/>
                    </a:lnTo>
                    <a:lnTo>
                      <a:pt x="203710" y="1110733"/>
                    </a:lnTo>
                    <a:lnTo>
                      <a:pt x="1761742" y="1110733"/>
                    </a:lnTo>
                    <a:lnTo>
                      <a:pt x="1762971" y="1106181"/>
                    </a:lnTo>
                    <a:close/>
                  </a:path>
                  <a:path w="1965960" h="1374775">
                    <a:moveTo>
                      <a:pt x="1771666" y="1097077"/>
                    </a:moveTo>
                    <a:lnTo>
                      <a:pt x="193786" y="1097077"/>
                    </a:lnTo>
                    <a:lnTo>
                      <a:pt x="195015" y="1101629"/>
                    </a:lnTo>
                    <a:lnTo>
                      <a:pt x="197473" y="1101629"/>
                    </a:lnTo>
                    <a:lnTo>
                      <a:pt x="198703" y="1106181"/>
                    </a:lnTo>
                    <a:lnTo>
                      <a:pt x="1764246" y="1106181"/>
                    </a:lnTo>
                    <a:lnTo>
                      <a:pt x="1770437" y="1101629"/>
                    </a:lnTo>
                    <a:lnTo>
                      <a:pt x="1771666" y="1097077"/>
                    </a:lnTo>
                    <a:close/>
                  </a:path>
                  <a:path w="1965960" h="1374775">
                    <a:moveTo>
                      <a:pt x="1776536" y="1092525"/>
                    </a:moveTo>
                    <a:lnTo>
                      <a:pt x="188915" y="1092525"/>
                    </a:lnTo>
                    <a:lnTo>
                      <a:pt x="190099" y="1097077"/>
                    </a:lnTo>
                    <a:lnTo>
                      <a:pt x="1775307" y="1097077"/>
                    </a:lnTo>
                    <a:lnTo>
                      <a:pt x="1776536" y="1092525"/>
                    </a:lnTo>
                    <a:close/>
                  </a:path>
                  <a:path w="1965960" h="1374775">
                    <a:moveTo>
                      <a:pt x="1782545" y="1087972"/>
                    </a:moveTo>
                    <a:lnTo>
                      <a:pt x="184090" y="1087972"/>
                    </a:lnTo>
                    <a:lnTo>
                      <a:pt x="185274" y="1092525"/>
                    </a:lnTo>
                    <a:lnTo>
                      <a:pt x="1780178" y="1092525"/>
                    </a:lnTo>
                    <a:lnTo>
                      <a:pt x="1782545" y="1087972"/>
                    </a:lnTo>
                    <a:close/>
                  </a:path>
                  <a:path w="1965960" h="1374775">
                    <a:moveTo>
                      <a:pt x="1790830" y="1078868"/>
                    </a:moveTo>
                    <a:lnTo>
                      <a:pt x="174576" y="1078868"/>
                    </a:lnTo>
                    <a:lnTo>
                      <a:pt x="180494" y="1087972"/>
                    </a:lnTo>
                    <a:lnTo>
                      <a:pt x="1784958" y="1087972"/>
                    </a:lnTo>
                    <a:lnTo>
                      <a:pt x="1789692" y="1083420"/>
                    </a:lnTo>
                    <a:lnTo>
                      <a:pt x="1790830" y="1078868"/>
                    </a:lnTo>
                    <a:close/>
                  </a:path>
                  <a:path w="1965960" h="1374775">
                    <a:moveTo>
                      <a:pt x="1797795" y="1074316"/>
                    </a:moveTo>
                    <a:lnTo>
                      <a:pt x="169933" y="1074316"/>
                    </a:lnTo>
                    <a:lnTo>
                      <a:pt x="171071" y="1078868"/>
                    </a:lnTo>
                    <a:lnTo>
                      <a:pt x="1793197" y="1078868"/>
                    </a:lnTo>
                    <a:lnTo>
                      <a:pt x="1797795" y="1074316"/>
                    </a:lnTo>
                    <a:close/>
                  </a:path>
                  <a:path w="1965960" h="1374775">
                    <a:moveTo>
                      <a:pt x="1800117" y="1069764"/>
                    </a:moveTo>
                    <a:lnTo>
                      <a:pt x="165335" y="1069764"/>
                    </a:lnTo>
                    <a:lnTo>
                      <a:pt x="166473" y="1074316"/>
                    </a:lnTo>
                    <a:lnTo>
                      <a:pt x="1798979" y="1074316"/>
                    </a:lnTo>
                    <a:lnTo>
                      <a:pt x="1800117" y="1069764"/>
                    </a:lnTo>
                    <a:close/>
                  </a:path>
                  <a:path w="1965960" h="1374775">
                    <a:moveTo>
                      <a:pt x="1805761" y="1065212"/>
                    </a:moveTo>
                    <a:lnTo>
                      <a:pt x="161921" y="1065212"/>
                    </a:lnTo>
                    <a:lnTo>
                      <a:pt x="163059" y="1069764"/>
                    </a:lnTo>
                    <a:lnTo>
                      <a:pt x="1802393" y="1069764"/>
                    </a:lnTo>
                    <a:lnTo>
                      <a:pt x="1805761" y="1065212"/>
                    </a:lnTo>
                    <a:close/>
                  </a:path>
                  <a:path w="1965960" h="1374775">
                    <a:moveTo>
                      <a:pt x="1807992" y="1060659"/>
                    </a:moveTo>
                    <a:lnTo>
                      <a:pt x="155184" y="1060659"/>
                    </a:lnTo>
                    <a:lnTo>
                      <a:pt x="160783" y="1065212"/>
                    </a:lnTo>
                    <a:lnTo>
                      <a:pt x="1806900" y="1065212"/>
                    </a:lnTo>
                    <a:lnTo>
                      <a:pt x="1807992" y="1060659"/>
                    </a:lnTo>
                    <a:close/>
                  </a:path>
                  <a:path w="1965960" h="1374775">
                    <a:moveTo>
                      <a:pt x="1812453" y="1056107"/>
                    </a:moveTo>
                    <a:lnTo>
                      <a:pt x="151860" y="1056107"/>
                    </a:lnTo>
                    <a:lnTo>
                      <a:pt x="154091" y="1060659"/>
                    </a:lnTo>
                    <a:lnTo>
                      <a:pt x="1810223" y="1060659"/>
                    </a:lnTo>
                    <a:lnTo>
                      <a:pt x="1812453" y="1056107"/>
                    </a:lnTo>
                    <a:close/>
                  </a:path>
                  <a:path w="1965960" h="1374775">
                    <a:moveTo>
                      <a:pt x="1820101" y="1047003"/>
                    </a:moveTo>
                    <a:lnTo>
                      <a:pt x="144258" y="1047003"/>
                    </a:lnTo>
                    <a:lnTo>
                      <a:pt x="147536" y="1051555"/>
                    </a:lnTo>
                    <a:lnTo>
                      <a:pt x="148583" y="1051555"/>
                    </a:lnTo>
                    <a:lnTo>
                      <a:pt x="149675" y="1056107"/>
                    </a:lnTo>
                    <a:lnTo>
                      <a:pt x="1815731" y="1056107"/>
                    </a:lnTo>
                    <a:lnTo>
                      <a:pt x="1816823" y="1051555"/>
                    </a:lnTo>
                    <a:lnTo>
                      <a:pt x="1820101" y="1047003"/>
                    </a:lnTo>
                    <a:close/>
                  </a:path>
                  <a:path w="1965960" h="1374775">
                    <a:moveTo>
                      <a:pt x="1824380" y="1042451"/>
                    </a:moveTo>
                    <a:lnTo>
                      <a:pt x="140025" y="1042451"/>
                    </a:lnTo>
                    <a:lnTo>
                      <a:pt x="142119" y="1047003"/>
                    </a:lnTo>
                    <a:lnTo>
                      <a:pt x="1823287" y="1047003"/>
                    </a:lnTo>
                    <a:lnTo>
                      <a:pt x="1824380" y="1042451"/>
                    </a:lnTo>
                    <a:close/>
                  </a:path>
                  <a:path w="1965960" h="1374775">
                    <a:moveTo>
                      <a:pt x="1832756" y="1033346"/>
                    </a:moveTo>
                    <a:lnTo>
                      <a:pt x="133743" y="1033346"/>
                    </a:lnTo>
                    <a:lnTo>
                      <a:pt x="135791" y="1037898"/>
                    </a:lnTo>
                    <a:lnTo>
                      <a:pt x="137885" y="1042451"/>
                    </a:lnTo>
                    <a:lnTo>
                      <a:pt x="1826474" y="1042451"/>
                    </a:lnTo>
                    <a:lnTo>
                      <a:pt x="1829615" y="1037898"/>
                    </a:lnTo>
                    <a:lnTo>
                      <a:pt x="1830662" y="1037898"/>
                    </a:lnTo>
                    <a:lnTo>
                      <a:pt x="1832756" y="1033346"/>
                    </a:lnTo>
                    <a:close/>
                  </a:path>
                  <a:path w="1965960" h="1374775">
                    <a:moveTo>
                      <a:pt x="1835806" y="1028794"/>
                    </a:moveTo>
                    <a:lnTo>
                      <a:pt x="128599" y="1028794"/>
                    </a:lnTo>
                    <a:lnTo>
                      <a:pt x="132696" y="1033346"/>
                    </a:lnTo>
                    <a:lnTo>
                      <a:pt x="1834804" y="1033346"/>
                    </a:lnTo>
                    <a:lnTo>
                      <a:pt x="1835806" y="1028794"/>
                    </a:lnTo>
                    <a:close/>
                  </a:path>
                  <a:path w="1965960" h="1374775">
                    <a:moveTo>
                      <a:pt x="1846822" y="1015137"/>
                    </a:moveTo>
                    <a:lnTo>
                      <a:pt x="118584" y="1015137"/>
                    </a:lnTo>
                    <a:lnTo>
                      <a:pt x="120587" y="1019690"/>
                    </a:lnTo>
                    <a:lnTo>
                      <a:pt x="122544" y="1019690"/>
                    </a:lnTo>
                    <a:lnTo>
                      <a:pt x="124547" y="1024242"/>
                    </a:lnTo>
                    <a:lnTo>
                      <a:pt x="125549" y="1024242"/>
                    </a:lnTo>
                    <a:lnTo>
                      <a:pt x="126550" y="1028794"/>
                    </a:lnTo>
                    <a:lnTo>
                      <a:pt x="1837854" y="1028794"/>
                    </a:lnTo>
                    <a:lnTo>
                      <a:pt x="1840904" y="1024242"/>
                    </a:lnTo>
                    <a:lnTo>
                      <a:pt x="1845866" y="1019690"/>
                    </a:lnTo>
                    <a:lnTo>
                      <a:pt x="1846822" y="1015137"/>
                    </a:lnTo>
                    <a:close/>
                  </a:path>
                  <a:path w="1965960" h="1374775">
                    <a:moveTo>
                      <a:pt x="1855517" y="1006033"/>
                    </a:moveTo>
                    <a:lnTo>
                      <a:pt x="109935" y="1006033"/>
                    </a:lnTo>
                    <a:lnTo>
                      <a:pt x="116627" y="1015137"/>
                    </a:lnTo>
                    <a:lnTo>
                      <a:pt x="1849781" y="1015137"/>
                    </a:lnTo>
                    <a:lnTo>
                      <a:pt x="1855517" y="1006033"/>
                    </a:lnTo>
                    <a:close/>
                  </a:path>
                  <a:path w="1965960" h="1374775">
                    <a:moveTo>
                      <a:pt x="1858339" y="1001481"/>
                    </a:moveTo>
                    <a:lnTo>
                      <a:pt x="108068" y="1001481"/>
                    </a:lnTo>
                    <a:lnTo>
                      <a:pt x="108979" y="1006033"/>
                    </a:lnTo>
                    <a:lnTo>
                      <a:pt x="1856427" y="1006033"/>
                    </a:lnTo>
                    <a:lnTo>
                      <a:pt x="1858339" y="1001481"/>
                    </a:lnTo>
                    <a:close/>
                  </a:path>
                  <a:path w="1965960" h="1374775">
                    <a:moveTo>
                      <a:pt x="1860206" y="996929"/>
                    </a:moveTo>
                    <a:lnTo>
                      <a:pt x="105246" y="996929"/>
                    </a:lnTo>
                    <a:lnTo>
                      <a:pt x="106202" y="1001481"/>
                    </a:lnTo>
                    <a:lnTo>
                      <a:pt x="1859250" y="1001481"/>
                    </a:lnTo>
                    <a:lnTo>
                      <a:pt x="1860206" y="996929"/>
                    </a:lnTo>
                    <a:close/>
                  </a:path>
                  <a:path w="1965960" h="1374775">
                    <a:moveTo>
                      <a:pt x="1863847" y="992377"/>
                    </a:moveTo>
                    <a:lnTo>
                      <a:pt x="101559" y="992377"/>
                    </a:lnTo>
                    <a:lnTo>
                      <a:pt x="102469" y="996929"/>
                    </a:lnTo>
                    <a:lnTo>
                      <a:pt x="1862937" y="996929"/>
                    </a:lnTo>
                    <a:lnTo>
                      <a:pt x="1863847" y="992377"/>
                    </a:lnTo>
                    <a:close/>
                  </a:path>
                  <a:path w="1965960" h="1374775">
                    <a:moveTo>
                      <a:pt x="1866579" y="987824"/>
                    </a:moveTo>
                    <a:lnTo>
                      <a:pt x="98873" y="987824"/>
                    </a:lnTo>
                    <a:lnTo>
                      <a:pt x="99738" y="992377"/>
                    </a:lnTo>
                    <a:lnTo>
                      <a:pt x="1865668" y="992377"/>
                    </a:lnTo>
                    <a:lnTo>
                      <a:pt x="1866579" y="987824"/>
                    </a:lnTo>
                    <a:close/>
                  </a:path>
                  <a:path w="1965960" h="1374775">
                    <a:moveTo>
                      <a:pt x="1870129" y="983272"/>
                    </a:moveTo>
                    <a:lnTo>
                      <a:pt x="95277" y="983272"/>
                    </a:lnTo>
                    <a:lnTo>
                      <a:pt x="96187" y="987824"/>
                    </a:lnTo>
                    <a:lnTo>
                      <a:pt x="1869265" y="987824"/>
                    </a:lnTo>
                    <a:lnTo>
                      <a:pt x="1870129" y="983272"/>
                    </a:lnTo>
                    <a:close/>
                  </a:path>
                  <a:path w="1965960" h="1374775">
                    <a:moveTo>
                      <a:pt x="1873635" y="978720"/>
                    </a:moveTo>
                    <a:lnTo>
                      <a:pt x="92637" y="978720"/>
                    </a:lnTo>
                    <a:lnTo>
                      <a:pt x="93547" y="983272"/>
                    </a:lnTo>
                    <a:lnTo>
                      <a:pt x="1871905" y="983272"/>
                    </a:lnTo>
                    <a:lnTo>
                      <a:pt x="1873635" y="978720"/>
                    </a:lnTo>
                    <a:close/>
                  </a:path>
                  <a:path w="1965960" h="1374775">
                    <a:moveTo>
                      <a:pt x="1877094" y="974168"/>
                    </a:moveTo>
                    <a:lnTo>
                      <a:pt x="89177" y="974168"/>
                    </a:lnTo>
                    <a:lnTo>
                      <a:pt x="90907" y="978720"/>
                    </a:lnTo>
                    <a:lnTo>
                      <a:pt x="1874500" y="978720"/>
                    </a:lnTo>
                    <a:lnTo>
                      <a:pt x="1877094" y="974168"/>
                    </a:lnTo>
                    <a:close/>
                  </a:path>
                  <a:path w="1965960" h="1374775">
                    <a:moveTo>
                      <a:pt x="1878779" y="969616"/>
                    </a:moveTo>
                    <a:lnTo>
                      <a:pt x="86628" y="969616"/>
                    </a:lnTo>
                    <a:lnTo>
                      <a:pt x="87493" y="974168"/>
                    </a:lnTo>
                    <a:lnTo>
                      <a:pt x="1877959" y="974168"/>
                    </a:lnTo>
                    <a:lnTo>
                      <a:pt x="1878779" y="969616"/>
                    </a:lnTo>
                    <a:close/>
                  </a:path>
                  <a:path w="1965960" h="1374775">
                    <a:moveTo>
                      <a:pt x="1887837" y="955959"/>
                    </a:moveTo>
                    <a:lnTo>
                      <a:pt x="77569" y="955959"/>
                    </a:lnTo>
                    <a:lnTo>
                      <a:pt x="84943" y="969616"/>
                    </a:lnTo>
                    <a:lnTo>
                      <a:pt x="1881328" y="969616"/>
                    </a:lnTo>
                    <a:lnTo>
                      <a:pt x="1887064" y="960511"/>
                    </a:lnTo>
                    <a:lnTo>
                      <a:pt x="1887837" y="955959"/>
                    </a:lnTo>
                    <a:close/>
                  </a:path>
                  <a:path w="1965960" h="1374775">
                    <a:moveTo>
                      <a:pt x="1890250" y="951407"/>
                    </a:moveTo>
                    <a:lnTo>
                      <a:pt x="74428" y="951407"/>
                    </a:lnTo>
                    <a:lnTo>
                      <a:pt x="75976" y="955959"/>
                    </a:lnTo>
                    <a:lnTo>
                      <a:pt x="1889431" y="955959"/>
                    </a:lnTo>
                    <a:lnTo>
                      <a:pt x="1890250" y="951407"/>
                    </a:lnTo>
                    <a:close/>
                  </a:path>
                  <a:path w="1965960" h="1374775">
                    <a:moveTo>
                      <a:pt x="1892572" y="946855"/>
                    </a:moveTo>
                    <a:lnTo>
                      <a:pt x="72835" y="946855"/>
                    </a:lnTo>
                    <a:lnTo>
                      <a:pt x="73608" y="951407"/>
                    </a:lnTo>
                    <a:lnTo>
                      <a:pt x="1891798" y="951407"/>
                    </a:lnTo>
                    <a:lnTo>
                      <a:pt x="1892572" y="946855"/>
                    </a:lnTo>
                    <a:close/>
                  </a:path>
                  <a:path w="1965960" h="1374775">
                    <a:moveTo>
                      <a:pt x="1895667" y="942302"/>
                    </a:moveTo>
                    <a:lnTo>
                      <a:pt x="69785" y="942302"/>
                    </a:lnTo>
                    <a:lnTo>
                      <a:pt x="70558" y="946855"/>
                    </a:lnTo>
                    <a:lnTo>
                      <a:pt x="1894893" y="946855"/>
                    </a:lnTo>
                    <a:lnTo>
                      <a:pt x="1895667" y="942302"/>
                    </a:lnTo>
                    <a:close/>
                  </a:path>
                  <a:path w="1965960" h="1374775">
                    <a:moveTo>
                      <a:pt x="1897943" y="937750"/>
                    </a:moveTo>
                    <a:lnTo>
                      <a:pt x="67508" y="937750"/>
                    </a:lnTo>
                    <a:lnTo>
                      <a:pt x="68237" y="942302"/>
                    </a:lnTo>
                    <a:lnTo>
                      <a:pt x="1897169" y="942302"/>
                    </a:lnTo>
                    <a:lnTo>
                      <a:pt x="1897943" y="937750"/>
                    </a:lnTo>
                    <a:close/>
                  </a:path>
                  <a:path w="1965960" h="1374775">
                    <a:moveTo>
                      <a:pt x="1900902" y="933198"/>
                    </a:moveTo>
                    <a:lnTo>
                      <a:pt x="64550" y="933198"/>
                    </a:lnTo>
                    <a:lnTo>
                      <a:pt x="65278" y="937750"/>
                    </a:lnTo>
                    <a:lnTo>
                      <a:pt x="1900174" y="937750"/>
                    </a:lnTo>
                    <a:lnTo>
                      <a:pt x="1900902" y="933198"/>
                    </a:lnTo>
                    <a:close/>
                  </a:path>
                  <a:path w="1965960" h="1374775">
                    <a:moveTo>
                      <a:pt x="1903087" y="928646"/>
                    </a:moveTo>
                    <a:lnTo>
                      <a:pt x="62364" y="928646"/>
                    </a:lnTo>
                    <a:lnTo>
                      <a:pt x="63093" y="933198"/>
                    </a:lnTo>
                    <a:lnTo>
                      <a:pt x="1902359" y="933198"/>
                    </a:lnTo>
                    <a:lnTo>
                      <a:pt x="1903087" y="928646"/>
                    </a:lnTo>
                    <a:close/>
                  </a:path>
                  <a:path w="1965960" h="1374775">
                    <a:moveTo>
                      <a:pt x="1905227" y="924094"/>
                    </a:moveTo>
                    <a:lnTo>
                      <a:pt x="60225" y="924094"/>
                    </a:lnTo>
                    <a:lnTo>
                      <a:pt x="60908" y="928646"/>
                    </a:lnTo>
                    <a:lnTo>
                      <a:pt x="1904498" y="928646"/>
                    </a:lnTo>
                    <a:lnTo>
                      <a:pt x="1905227" y="924094"/>
                    </a:lnTo>
                    <a:close/>
                  </a:path>
                  <a:path w="1965960" h="1374775">
                    <a:moveTo>
                      <a:pt x="1912101" y="910437"/>
                    </a:moveTo>
                    <a:lnTo>
                      <a:pt x="53306" y="910437"/>
                    </a:lnTo>
                    <a:lnTo>
                      <a:pt x="57403" y="919542"/>
                    </a:lnTo>
                    <a:lnTo>
                      <a:pt x="58085" y="924094"/>
                    </a:lnTo>
                    <a:lnTo>
                      <a:pt x="1907321" y="924094"/>
                    </a:lnTo>
                    <a:lnTo>
                      <a:pt x="1908049" y="919542"/>
                    </a:lnTo>
                    <a:lnTo>
                      <a:pt x="1911463" y="914989"/>
                    </a:lnTo>
                    <a:lnTo>
                      <a:pt x="1912101" y="910437"/>
                    </a:lnTo>
                    <a:close/>
                  </a:path>
                  <a:path w="1965960" h="1374775">
                    <a:moveTo>
                      <a:pt x="1914741" y="905885"/>
                    </a:moveTo>
                    <a:lnTo>
                      <a:pt x="50665" y="905885"/>
                    </a:lnTo>
                    <a:lnTo>
                      <a:pt x="51348" y="910437"/>
                    </a:lnTo>
                    <a:lnTo>
                      <a:pt x="1913466" y="910437"/>
                    </a:lnTo>
                    <a:lnTo>
                      <a:pt x="1914741" y="905885"/>
                    </a:lnTo>
                    <a:close/>
                  </a:path>
                  <a:path w="1965960" h="1374775">
                    <a:moveTo>
                      <a:pt x="1919248" y="896781"/>
                    </a:moveTo>
                    <a:lnTo>
                      <a:pt x="45567" y="896781"/>
                    </a:lnTo>
                    <a:lnTo>
                      <a:pt x="49391" y="905885"/>
                    </a:lnTo>
                    <a:lnTo>
                      <a:pt x="1916061" y="905885"/>
                    </a:lnTo>
                    <a:lnTo>
                      <a:pt x="1919248" y="896781"/>
                    </a:lnTo>
                    <a:close/>
                  </a:path>
                  <a:path w="1965960" h="1374775">
                    <a:moveTo>
                      <a:pt x="1922889" y="887676"/>
                    </a:moveTo>
                    <a:lnTo>
                      <a:pt x="42562" y="887676"/>
                    </a:lnTo>
                    <a:lnTo>
                      <a:pt x="44338" y="892228"/>
                    </a:lnTo>
                    <a:lnTo>
                      <a:pt x="44975" y="896781"/>
                    </a:lnTo>
                    <a:lnTo>
                      <a:pt x="1920477" y="896781"/>
                    </a:lnTo>
                    <a:lnTo>
                      <a:pt x="1921068" y="892228"/>
                    </a:lnTo>
                    <a:lnTo>
                      <a:pt x="1921706" y="892228"/>
                    </a:lnTo>
                    <a:lnTo>
                      <a:pt x="1922889" y="887676"/>
                    </a:lnTo>
                    <a:close/>
                  </a:path>
                  <a:path w="1965960" h="1374775">
                    <a:moveTo>
                      <a:pt x="1924665" y="883124"/>
                    </a:moveTo>
                    <a:lnTo>
                      <a:pt x="40742" y="883124"/>
                    </a:lnTo>
                    <a:lnTo>
                      <a:pt x="41925" y="887676"/>
                    </a:lnTo>
                    <a:lnTo>
                      <a:pt x="1923481" y="887676"/>
                    </a:lnTo>
                    <a:lnTo>
                      <a:pt x="1924665" y="883124"/>
                    </a:lnTo>
                    <a:close/>
                  </a:path>
                  <a:path w="1965960" h="1374775">
                    <a:moveTo>
                      <a:pt x="1926986" y="878572"/>
                    </a:moveTo>
                    <a:lnTo>
                      <a:pt x="38465" y="878572"/>
                    </a:lnTo>
                    <a:lnTo>
                      <a:pt x="39012" y="883124"/>
                    </a:lnTo>
                    <a:lnTo>
                      <a:pt x="1926394" y="883124"/>
                    </a:lnTo>
                    <a:lnTo>
                      <a:pt x="1926986" y="878572"/>
                    </a:lnTo>
                    <a:close/>
                  </a:path>
                  <a:path w="1965960" h="1374775">
                    <a:moveTo>
                      <a:pt x="1928671" y="874020"/>
                    </a:moveTo>
                    <a:lnTo>
                      <a:pt x="36781" y="874020"/>
                    </a:lnTo>
                    <a:lnTo>
                      <a:pt x="37327" y="878572"/>
                    </a:lnTo>
                    <a:lnTo>
                      <a:pt x="1928124" y="878572"/>
                    </a:lnTo>
                    <a:lnTo>
                      <a:pt x="1928671" y="874020"/>
                    </a:lnTo>
                    <a:close/>
                  </a:path>
                  <a:path w="1965960" h="1374775">
                    <a:moveTo>
                      <a:pt x="1930309" y="869467"/>
                    </a:moveTo>
                    <a:lnTo>
                      <a:pt x="35097" y="869467"/>
                    </a:lnTo>
                    <a:lnTo>
                      <a:pt x="35643" y="874020"/>
                    </a:lnTo>
                    <a:lnTo>
                      <a:pt x="1929763" y="874020"/>
                    </a:lnTo>
                    <a:lnTo>
                      <a:pt x="1930309" y="869467"/>
                    </a:lnTo>
                    <a:close/>
                  </a:path>
                  <a:path w="1965960" h="1374775">
                    <a:moveTo>
                      <a:pt x="1932494" y="864915"/>
                    </a:moveTo>
                    <a:lnTo>
                      <a:pt x="32957" y="864915"/>
                    </a:lnTo>
                    <a:lnTo>
                      <a:pt x="33504" y="869467"/>
                    </a:lnTo>
                    <a:lnTo>
                      <a:pt x="1931948" y="869467"/>
                    </a:lnTo>
                    <a:lnTo>
                      <a:pt x="1932494" y="864915"/>
                    </a:lnTo>
                    <a:close/>
                  </a:path>
                  <a:path w="1965960" h="1374775">
                    <a:moveTo>
                      <a:pt x="1934042" y="860363"/>
                    </a:moveTo>
                    <a:lnTo>
                      <a:pt x="31410" y="860363"/>
                    </a:lnTo>
                    <a:lnTo>
                      <a:pt x="32411" y="864915"/>
                    </a:lnTo>
                    <a:lnTo>
                      <a:pt x="1933541" y="864915"/>
                    </a:lnTo>
                    <a:lnTo>
                      <a:pt x="1934042" y="860363"/>
                    </a:lnTo>
                    <a:close/>
                  </a:path>
                  <a:path w="1965960" h="1374775">
                    <a:moveTo>
                      <a:pt x="1935590" y="855811"/>
                    </a:moveTo>
                    <a:lnTo>
                      <a:pt x="29862" y="855811"/>
                    </a:lnTo>
                    <a:lnTo>
                      <a:pt x="30863" y="860363"/>
                    </a:lnTo>
                    <a:lnTo>
                      <a:pt x="1935089" y="860363"/>
                    </a:lnTo>
                    <a:lnTo>
                      <a:pt x="1935590" y="855811"/>
                    </a:lnTo>
                    <a:close/>
                  </a:path>
                  <a:path w="1965960" h="1374775">
                    <a:moveTo>
                      <a:pt x="1937047" y="851259"/>
                    </a:moveTo>
                    <a:lnTo>
                      <a:pt x="27859" y="851259"/>
                    </a:lnTo>
                    <a:lnTo>
                      <a:pt x="29361" y="855811"/>
                    </a:lnTo>
                    <a:lnTo>
                      <a:pt x="1936591" y="855811"/>
                    </a:lnTo>
                    <a:lnTo>
                      <a:pt x="1937047" y="851259"/>
                    </a:lnTo>
                    <a:close/>
                  </a:path>
                  <a:path w="1965960" h="1374775">
                    <a:moveTo>
                      <a:pt x="1939004" y="846706"/>
                    </a:moveTo>
                    <a:lnTo>
                      <a:pt x="26448" y="846706"/>
                    </a:lnTo>
                    <a:lnTo>
                      <a:pt x="26903" y="851259"/>
                    </a:lnTo>
                    <a:lnTo>
                      <a:pt x="1938503" y="851259"/>
                    </a:lnTo>
                    <a:lnTo>
                      <a:pt x="1939004" y="846706"/>
                    </a:lnTo>
                    <a:close/>
                  </a:path>
                  <a:path w="1965960" h="1374775">
                    <a:moveTo>
                      <a:pt x="1943101" y="833050"/>
                    </a:moveTo>
                    <a:lnTo>
                      <a:pt x="22351" y="833050"/>
                    </a:lnTo>
                    <a:lnTo>
                      <a:pt x="22760" y="837602"/>
                    </a:lnTo>
                    <a:lnTo>
                      <a:pt x="25037" y="842154"/>
                    </a:lnTo>
                    <a:lnTo>
                      <a:pt x="25492" y="846706"/>
                    </a:lnTo>
                    <a:lnTo>
                      <a:pt x="1939914" y="846706"/>
                    </a:lnTo>
                    <a:lnTo>
                      <a:pt x="1940415" y="842154"/>
                    </a:lnTo>
                    <a:lnTo>
                      <a:pt x="1942236" y="837602"/>
                    </a:lnTo>
                    <a:lnTo>
                      <a:pt x="1942646" y="837602"/>
                    </a:lnTo>
                    <a:lnTo>
                      <a:pt x="1943101" y="833050"/>
                    </a:lnTo>
                    <a:close/>
                  </a:path>
                  <a:path w="1965960" h="1374775">
                    <a:moveTo>
                      <a:pt x="1944376" y="828498"/>
                    </a:moveTo>
                    <a:lnTo>
                      <a:pt x="21031" y="828498"/>
                    </a:lnTo>
                    <a:lnTo>
                      <a:pt x="21486" y="833050"/>
                    </a:lnTo>
                    <a:lnTo>
                      <a:pt x="1943966" y="833050"/>
                    </a:lnTo>
                    <a:lnTo>
                      <a:pt x="1944376" y="828498"/>
                    </a:lnTo>
                    <a:close/>
                  </a:path>
                  <a:path w="1965960" h="1374775">
                    <a:moveTo>
                      <a:pt x="1946060" y="823946"/>
                    </a:moveTo>
                    <a:lnTo>
                      <a:pt x="19392" y="823946"/>
                    </a:lnTo>
                    <a:lnTo>
                      <a:pt x="19802" y="828498"/>
                    </a:lnTo>
                    <a:lnTo>
                      <a:pt x="1945650" y="828498"/>
                    </a:lnTo>
                    <a:lnTo>
                      <a:pt x="1946060" y="823946"/>
                    </a:lnTo>
                    <a:close/>
                  </a:path>
                  <a:path w="1965960" h="1374775">
                    <a:moveTo>
                      <a:pt x="1947653" y="819393"/>
                    </a:moveTo>
                    <a:lnTo>
                      <a:pt x="18208" y="819393"/>
                    </a:lnTo>
                    <a:lnTo>
                      <a:pt x="18572" y="823946"/>
                    </a:lnTo>
                    <a:lnTo>
                      <a:pt x="1946834" y="823946"/>
                    </a:lnTo>
                    <a:lnTo>
                      <a:pt x="1947653" y="819393"/>
                    </a:lnTo>
                    <a:close/>
                  </a:path>
                  <a:path w="1965960" h="1374775">
                    <a:moveTo>
                      <a:pt x="1949884" y="810289"/>
                    </a:moveTo>
                    <a:lnTo>
                      <a:pt x="15522" y="810289"/>
                    </a:lnTo>
                    <a:lnTo>
                      <a:pt x="16251" y="814841"/>
                    </a:lnTo>
                    <a:lnTo>
                      <a:pt x="16661" y="814841"/>
                    </a:lnTo>
                    <a:lnTo>
                      <a:pt x="17389" y="819393"/>
                    </a:lnTo>
                    <a:lnTo>
                      <a:pt x="1948017" y="819393"/>
                    </a:lnTo>
                    <a:lnTo>
                      <a:pt x="1948427" y="814841"/>
                    </a:lnTo>
                    <a:lnTo>
                      <a:pt x="1949884" y="810289"/>
                    </a:lnTo>
                    <a:close/>
                  </a:path>
                  <a:path w="1965960" h="1374775">
                    <a:moveTo>
                      <a:pt x="1951340" y="805737"/>
                    </a:moveTo>
                    <a:lnTo>
                      <a:pt x="14475" y="805737"/>
                    </a:lnTo>
                    <a:lnTo>
                      <a:pt x="14794" y="810289"/>
                    </a:lnTo>
                    <a:lnTo>
                      <a:pt x="1950248" y="810289"/>
                    </a:lnTo>
                    <a:lnTo>
                      <a:pt x="1951340" y="805737"/>
                    </a:lnTo>
                    <a:close/>
                  </a:path>
                  <a:path w="1965960" h="1374775">
                    <a:moveTo>
                      <a:pt x="1952023" y="801185"/>
                    </a:moveTo>
                    <a:lnTo>
                      <a:pt x="13428" y="801185"/>
                    </a:lnTo>
                    <a:lnTo>
                      <a:pt x="13747" y="805737"/>
                    </a:lnTo>
                    <a:lnTo>
                      <a:pt x="1951659" y="805737"/>
                    </a:lnTo>
                    <a:lnTo>
                      <a:pt x="1952023" y="801185"/>
                    </a:lnTo>
                    <a:close/>
                  </a:path>
                  <a:path w="1965960" h="1374775">
                    <a:moveTo>
                      <a:pt x="1953025" y="796632"/>
                    </a:moveTo>
                    <a:lnTo>
                      <a:pt x="12108" y="796632"/>
                    </a:lnTo>
                    <a:lnTo>
                      <a:pt x="13064" y="801185"/>
                    </a:lnTo>
                    <a:lnTo>
                      <a:pt x="1952661" y="801185"/>
                    </a:lnTo>
                    <a:lnTo>
                      <a:pt x="1953025" y="796632"/>
                    </a:lnTo>
                    <a:close/>
                  </a:path>
                  <a:path w="1965960" h="1374775">
                    <a:moveTo>
                      <a:pt x="1954299" y="792080"/>
                    </a:moveTo>
                    <a:lnTo>
                      <a:pt x="11152" y="792080"/>
                    </a:lnTo>
                    <a:lnTo>
                      <a:pt x="11790" y="796632"/>
                    </a:lnTo>
                    <a:lnTo>
                      <a:pt x="1953662" y="796632"/>
                    </a:lnTo>
                    <a:lnTo>
                      <a:pt x="1954299" y="792080"/>
                    </a:lnTo>
                    <a:close/>
                  </a:path>
                  <a:path w="1965960" h="1374775">
                    <a:moveTo>
                      <a:pt x="1955210" y="787528"/>
                    </a:moveTo>
                    <a:lnTo>
                      <a:pt x="10561" y="787528"/>
                    </a:lnTo>
                    <a:lnTo>
                      <a:pt x="10834" y="792080"/>
                    </a:lnTo>
                    <a:lnTo>
                      <a:pt x="1954573" y="792080"/>
                    </a:lnTo>
                    <a:lnTo>
                      <a:pt x="1955210" y="787528"/>
                    </a:lnTo>
                    <a:close/>
                  </a:path>
                  <a:path w="1965960" h="1374775">
                    <a:moveTo>
                      <a:pt x="1957668" y="773871"/>
                    </a:moveTo>
                    <a:lnTo>
                      <a:pt x="7738" y="773871"/>
                    </a:lnTo>
                    <a:lnTo>
                      <a:pt x="9650" y="787528"/>
                    </a:lnTo>
                    <a:lnTo>
                      <a:pt x="1955756" y="787528"/>
                    </a:lnTo>
                    <a:lnTo>
                      <a:pt x="1956075" y="782976"/>
                    </a:lnTo>
                    <a:lnTo>
                      <a:pt x="1957440" y="778424"/>
                    </a:lnTo>
                    <a:lnTo>
                      <a:pt x="1957668" y="773871"/>
                    </a:lnTo>
                    <a:close/>
                  </a:path>
                  <a:path w="1965960" h="1374775">
                    <a:moveTo>
                      <a:pt x="1958669" y="769319"/>
                    </a:moveTo>
                    <a:lnTo>
                      <a:pt x="7010" y="769319"/>
                    </a:lnTo>
                    <a:lnTo>
                      <a:pt x="7237" y="773871"/>
                    </a:lnTo>
                    <a:lnTo>
                      <a:pt x="1958214" y="773871"/>
                    </a:lnTo>
                    <a:lnTo>
                      <a:pt x="1958669" y="769319"/>
                    </a:lnTo>
                    <a:close/>
                  </a:path>
                  <a:path w="1965960" h="1374775">
                    <a:moveTo>
                      <a:pt x="1959853" y="760215"/>
                    </a:moveTo>
                    <a:lnTo>
                      <a:pt x="5371" y="760215"/>
                    </a:lnTo>
                    <a:lnTo>
                      <a:pt x="6737" y="769319"/>
                    </a:lnTo>
                    <a:lnTo>
                      <a:pt x="1958943" y="769319"/>
                    </a:lnTo>
                    <a:lnTo>
                      <a:pt x="1959853" y="760215"/>
                    </a:lnTo>
                    <a:close/>
                  </a:path>
                  <a:path w="1965960" h="1374775">
                    <a:moveTo>
                      <a:pt x="1960855" y="755663"/>
                    </a:moveTo>
                    <a:lnTo>
                      <a:pt x="4779" y="755663"/>
                    </a:lnTo>
                    <a:lnTo>
                      <a:pt x="4961" y="760215"/>
                    </a:lnTo>
                    <a:lnTo>
                      <a:pt x="1960490" y="760215"/>
                    </a:lnTo>
                    <a:lnTo>
                      <a:pt x="1960855" y="755663"/>
                    </a:lnTo>
                    <a:close/>
                  </a:path>
                  <a:path w="1965960" h="1374775">
                    <a:moveTo>
                      <a:pt x="1962311" y="742006"/>
                    </a:moveTo>
                    <a:lnTo>
                      <a:pt x="3095" y="742006"/>
                    </a:lnTo>
                    <a:lnTo>
                      <a:pt x="4552" y="755663"/>
                    </a:lnTo>
                    <a:lnTo>
                      <a:pt x="1961082" y="755663"/>
                    </a:lnTo>
                    <a:lnTo>
                      <a:pt x="1962175" y="746558"/>
                    </a:lnTo>
                    <a:lnTo>
                      <a:pt x="1962311" y="742006"/>
                    </a:lnTo>
                    <a:close/>
                  </a:path>
                  <a:path w="1965960" h="1374775">
                    <a:moveTo>
                      <a:pt x="1963722" y="728350"/>
                    </a:moveTo>
                    <a:lnTo>
                      <a:pt x="1684" y="728350"/>
                    </a:lnTo>
                    <a:lnTo>
                      <a:pt x="2776" y="742006"/>
                    </a:lnTo>
                    <a:lnTo>
                      <a:pt x="1962630" y="742006"/>
                    </a:lnTo>
                    <a:lnTo>
                      <a:pt x="1962812" y="737454"/>
                    </a:lnTo>
                    <a:lnTo>
                      <a:pt x="1963631" y="732902"/>
                    </a:lnTo>
                    <a:lnTo>
                      <a:pt x="1963722" y="728350"/>
                    </a:lnTo>
                    <a:close/>
                  </a:path>
                  <a:path w="1965960" h="1374775">
                    <a:moveTo>
                      <a:pt x="1964178" y="723797"/>
                    </a:moveTo>
                    <a:lnTo>
                      <a:pt x="1365" y="723797"/>
                    </a:lnTo>
                    <a:lnTo>
                      <a:pt x="1456" y="728350"/>
                    </a:lnTo>
                    <a:lnTo>
                      <a:pt x="1963996" y="728350"/>
                    </a:lnTo>
                    <a:lnTo>
                      <a:pt x="1964178" y="723797"/>
                    </a:lnTo>
                    <a:close/>
                  </a:path>
                  <a:path w="1965960" h="1374775">
                    <a:moveTo>
                      <a:pt x="1964633" y="714693"/>
                    </a:moveTo>
                    <a:lnTo>
                      <a:pt x="682" y="714693"/>
                    </a:lnTo>
                    <a:lnTo>
                      <a:pt x="1229" y="723797"/>
                    </a:lnTo>
                    <a:lnTo>
                      <a:pt x="1964314" y="723797"/>
                    </a:lnTo>
                    <a:lnTo>
                      <a:pt x="1964587" y="719245"/>
                    </a:lnTo>
                    <a:lnTo>
                      <a:pt x="1964633" y="714693"/>
                    </a:lnTo>
                    <a:close/>
                  </a:path>
                  <a:path w="1965960" h="1374775">
                    <a:moveTo>
                      <a:pt x="1964860" y="710141"/>
                    </a:moveTo>
                    <a:lnTo>
                      <a:pt x="546" y="710141"/>
                    </a:lnTo>
                    <a:lnTo>
                      <a:pt x="637" y="714693"/>
                    </a:lnTo>
                    <a:lnTo>
                      <a:pt x="1964815" y="714693"/>
                    </a:lnTo>
                    <a:lnTo>
                      <a:pt x="1964860" y="710141"/>
                    </a:lnTo>
                    <a:close/>
                  </a:path>
                  <a:path w="1965960" h="1374775">
                    <a:moveTo>
                      <a:pt x="1965361" y="696484"/>
                    </a:moveTo>
                    <a:lnTo>
                      <a:pt x="91" y="696484"/>
                    </a:lnTo>
                    <a:lnTo>
                      <a:pt x="91" y="701036"/>
                    </a:lnTo>
                    <a:lnTo>
                      <a:pt x="409" y="710141"/>
                    </a:lnTo>
                    <a:lnTo>
                      <a:pt x="1964997" y="710141"/>
                    </a:lnTo>
                    <a:lnTo>
                      <a:pt x="1965088" y="705589"/>
                    </a:lnTo>
                    <a:lnTo>
                      <a:pt x="1965316" y="701036"/>
                    </a:lnTo>
                    <a:lnTo>
                      <a:pt x="1965361" y="696484"/>
                    </a:lnTo>
                    <a:close/>
                  </a:path>
                  <a:path w="1965960" h="1374775">
                    <a:moveTo>
                      <a:pt x="1965407" y="682828"/>
                    </a:moveTo>
                    <a:lnTo>
                      <a:pt x="0" y="682828"/>
                    </a:lnTo>
                    <a:lnTo>
                      <a:pt x="45" y="696484"/>
                    </a:lnTo>
                    <a:lnTo>
                      <a:pt x="1965407" y="696484"/>
                    </a:lnTo>
                    <a:lnTo>
                      <a:pt x="1965452" y="691932"/>
                    </a:lnTo>
                    <a:lnTo>
                      <a:pt x="1965407" y="687380"/>
                    </a:lnTo>
                    <a:lnTo>
                      <a:pt x="1965407" y="682828"/>
                    </a:lnTo>
                    <a:close/>
                  </a:path>
                  <a:path w="1965960" h="1374775">
                    <a:moveTo>
                      <a:pt x="1965088" y="669171"/>
                    </a:moveTo>
                    <a:lnTo>
                      <a:pt x="409" y="669171"/>
                    </a:lnTo>
                    <a:lnTo>
                      <a:pt x="91" y="678276"/>
                    </a:lnTo>
                    <a:lnTo>
                      <a:pt x="45" y="682828"/>
                    </a:lnTo>
                    <a:lnTo>
                      <a:pt x="1965361" y="682828"/>
                    </a:lnTo>
                    <a:lnTo>
                      <a:pt x="1965316" y="678276"/>
                    </a:lnTo>
                    <a:lnTo>
                      <a:pt x="1965088" y="669171"/>
                    </a:lnTo>
                    <a:close/>
                  </a:path>
                  <a:path w="1965960" h="1374775">
                    <a:moveTo>
                      <a:pt x="1964860" y="664619"/>
                    </a:moveTo>
                    <a:lnTo>
                      <a:pt x="546" y="664619"/>
                    </a:lnTo>
                    <a:lnTo>
                      <a:pt x="500" y="669171"/>
                    </a:lnTo>
                    <a:lnTo>
                      <a:pt x="1964952" y="669171"/>
                    </a:lnTo>
                    <a:lnTo>
                      <a:pt x="1964860" y="664619"/>
                    </a:lnTo>
                    <a:close/>
                  </a:path>
                  <a:path w="1965960" h="1374775">
                    <a:moveTo>
                      <a:pt x="1963996" y="650962"/>
                    </a:moveTo>
                    <a:lnTo>
                      <a:pt x="1365" y="650962"/>
                    </a:lnTo>
                    <a:lnTo>
                      <a:pt x="1229" y="655515"/>
                    </a:lnTo>
                    <a:lnTo>
                      <a:pt x="682" y="664619"/>
                    </a:lnTo>
                    <a:lnTo>
                      <a:pt x="1964815" y="664619"/>
                    </a:lnTo>
                    <a:lnTo>
                      <a:pt x="1964633" y="660067"/>
                    </a:lnTo>
                    <a:lnTo>
                      <a:pt x="1964314" y="655515"/>
                    </a:lnTo>
                    <a:lnTo>
                      <a:pt x="1964178" y="655515"/>
                    </a:lnTo>
                    <a:lnTo>
                      <a:pt x="1963996" y="650962"/>
                    </a:lnTo>
                    <a:close/>
                  </a:path>
                  <a:path w="1965960" h="1374775">
                    <a:moveTo>
                      <a:pt x="1962812" y="637306"/>
                    </a:moveTo>
                    <a:lnTo>
                      <a:pt x="2776" y="637306"/>
                    </a:lnTo>
                    <a:lnTo>
                      <a:pt x="1684" y="650962"/>
                    </a:lnTo>
                    <a:lnTo>
                      <a:pt x="1963722" y="650962"/>
                    </a:lnTo>
                    <a:lnTo>
                      <a:pt x="1963631" y="646410"/>
                    </a:lnTo>
                    <a:lnTo>
                      <a:pt x="1962812" y="637306"/>
                    </a:lnTo>
                    <a:close/>
                  </a:path>
                  <a:path w="1965960" h="1374775">
                    <a:moveTo>
                      <a:pt x="1961082" y="623649"/>
                    </a:moveTo>
                    <a:lnTo>
                      <a:pt x="4552" y="623649"/>
                    </a:lnTo>
                    <a:lnTo>
                      <a:pt x="3095" y="632754"/>
                    </a:lnTo>
                    <a:lnTo>
                      <a:pt x="2958" y="637306"/>
                    </a:lnTo>
                    <a:lnTo>
                      <a:pt x="1962493" y="637306"/>
                    </a:lnTo>
                    <a:lnTo>
                      <a:pt x="1962311" y="632754"/>
                    </a:lnTo>
                    <a:lnTo>
                      <a:pt x="1962175" y="632754"/>
                    </a:lnTo>
                    <a:lnTo>
                      <a:pt x="1961082" y="623649"/>
                    </a:lnTo>
                    <a:close/>
                  </a:path>
                  <a:path w="1965960" h="1374775">
                    <a:moveTo>
                      <a:pt x="1960490" y="619097"/>
                    </a:moveTo>
                    <a:lnTo>
                      <a:pt x="4961" y="619097"/>
                    </a:lnTo>
                    <a:lnTo>
                      <a:pt x="4779" y="623649"/>
                    </a:lnTo>
                    <a:lnTo>
                      <a:pt x="1960855" y="623649"/>
                    </a:lnTo>
                    <a:lnTo>
                      <a:pt x="1960490" y="619097"/>
                    </a:lnTo>
                    <a:close/>
                  </a:path>
                  <a:path w="1965960" h="1374775">
                    <a:moveTo>
                      <a:pt x="1957668" y="600888"/>
                    </a:moveTo>
                    <a:lnTo>
                      <a:pt x="7738" y="600888"/>
                    </a:lnTo>
                    <a:lnTo>
                      <a:pt x="7511" y="605441"/>
                    </a:lnTo>
                    <a:lnTo>
                      <a:pt x="7010" y="605441"/>
                    </a:lnTo>
                    <a:lnTo>
                      <a:pt x="6737" y="609993"/>
                    </a:lnTo>
                    <a:lnTo>
                      <a:pt x="5371" y="619097"/>
                    </a:lnTo>
                    <a:lnTo>
                      <a:pt x="1960035" y="619097"/>
                    </a:lnTo>
                    <a:lnTo>
                      <a:pt x="1959853" y="614545"/>
                    </a:lnTo>
                    <a:lnTo>
                      <a:pt x="1958943" y="609993"/>
                    </a:lnTo>
                    <a:lnTo>
                      <a:pt x="1958669" y="609993"/>
                    </a:lnTo>
                    <a:lnTo>
                      <a:pt x="1958214" y="605441"/>
                    </a:lnTo>
                    <a:lnTo>
                      <a:pt x="1957668" y="600888"/>
                    </a:lnTo>
                    <a:close/>
                  </a:path>
                  <a:path w="1965960" h="1374775">
                    <a:moveTo>
                      <a:pt x="1955756" y="591784"/>
                    </a:moveTo>
                    <a:lnTo>
                      <a:pt x="9650" y="591784"/>
                    </a:lnTo>
                    <a:lnTo>
                      <a:pt x="8011" y="600888"/>
                    </a:lnTo>
                    <a:lnTo>
                      <a:pt x="1957440" y="600888"/>
                    </a:lnTo>
                    <a:lnTo>
                      <a:pt x="1956348" y="596336"/>
                    </a:lnTo>
                    <a:lnTo>
                      <a:pt x="1956075" y="596336"/>
                    </a:lnTo>
                    <a:lnTo>
                      <a:pt x="1955756" y="591784"/>
                    </a:lnTo>
                    <a:close/>
                  </a:path>
                  <a:path w="1965960" h="1374775">
                    <a:moveTo>
                      <a:pt x="1954573" y="587232"/>
                    </a:moveTo>
                    <a:lnTo>
                      <a:pt x="10561" y="587232"/>
                    </a:lnTo>
                    <a:lnTo>
                      <a:pt x="10242" y="591784"/>
                    </a:lnTo>
                    <a:lnTo>
                      <a:pt x="1955210" y="591784"/>
                    </a:lnTo>
                    <a:lnTo>
                      <a:pt x="1954573" y="587232"/>
                    </a:lnTo>
                    <a:close/>
                  </a:path>
                  <a:path w="1965960" h="1374775">
                    <a:moveTo>
                      <a:pt x="1953025" y="578127"/>
                    </a:moveTo>
                    <a:lnTo>
                      <a:pt x="12427" y="578127"/>
                    </a:lnTo>
                    <a:lnTo>
                      <a:pt x="12108" y="582680"/>
                    </a:lnTo>
                    <a:lnTo>
                      <a:pt x="11152" y="587232"/>
                    </a:lnTo>
                    <a:lnTo>
                      <a:pt x="1954299" y="587232"/>
                    </a:lnTo>
                    <a:lnTo>
                      <a:pt x="1953343" y="582680"/>
                    </a:lnTo>
                    <a:lnTo>
                      <a:pt x="1953025" y="578127"/>
                    </a:lnTo>
                    <a:close/>
                  </a:path>
                  <a:path w="1965960" h="1374775">
                    <a:moveTo>
                      <a:pt x="1952023" y="573575"/>
                    </a:moveTo>
                    <a:lnTo>
                      <a:pt x="13428" y="573575"/>
                    </a:lnTo>
                    <a:lnTo>
                      <a:pt x="13064" y="578127"/>
                    </a:lnTo>
                    <a:lnTo>
                      <a:pt x="1952661" y="578127"/>
                    </a:lnTo>
                    <a:lnTo>
                      <a:pt x="1952023" y="573575"/>
                    </a:lnTo>
                    <a:close/>
                  </a:path>
                  <a:path w="1965960" h="1374775">
                    <a:moveTo>
                      <a:pt x="1946834" y="555366"/>
                    </a:moveTo>
                    <a:lnTo>
                      <a:pt x="18208" y="555366"/>
                    </a:lnTo>
                    <a:lnTo>
                      <a:pt x="17389" y="559919"/>
                    </a:lnTo>
                    <a:lnTo>
                      <a:pt x="16661" y="564471"/>
                    </a:lnTo>
                    <a:lnTo>
                      <a:pt x="15887" y="564471"/>
                    </a:lnTo>
                    <a:lnTo>
                      <a:pt x="15522" y="569023"/>
                    </a:lnTo>
                    <a:lnTo>
                      <a:pt x="14794" y="569023"/>
                    </a:lnTo>
                    <a:lnTo>
                      <a:pt x="14475" y="573575"/>
                    </a:lnTo>
                    <a:lnTo>
                      <a:pt x="1951340" y="573575"/>
                    </a:lnTo>
                    <a:lnTo>
                      <a:pt x="1949884" y="569023"/>
                    </a:lnTo>
                    <a:lnTo>
                      <a:pt x="1949520" y="564471"/>
                    </a:lnTo>
                    <a:lnTo>
                      <a:pt x="1948427" y="559919"/>
                    </a:lnTo>
                    <a:lnTo>
                      <a:pt x="1947653" y="559919"/>
                    </a:lnTo>
                    <a:lnTo>
                      <a:pt x="1946834" y="555366"/>
                    </a:lnTo>
                    <a:close/>
                  </a:path>
                  <a:path w="1965960" h="1374775">
                    <a:moveTo>
                      <a:pt x="1943966" y="546262"/>
                    </a:moveTo>
                    <a:lnTo>
                      <a:pt x="21031" y="546262"/>
                    </a:lnTo>
                    <a:lnTo>
                      <a:pt x="18572" y="555366"/>
                    </a:lnTo>
                    <a:lnTo>
                      <a:pt x="1946470" y="555366"/>
                    </a:lnTo>
                    <a:lnTo>
                      <a:pt x="1945241" y="550814"/>
                    </a:lnTo>
                    <a:lnTo>
                      <a:pt x="1944785" y="550814"/>
                    </a:lnTo>
                    <a:lnTo>
                      <a:pt x="1943966" y="546262"/>
                    </a:lnTo>
                    <a:close/>
                  </a:path>
                  <a:path w="1965960" h="1374775">
                    <a:moveTo>
                      <a:pt x="1943101" y="541710"/>
                    </a:moveTo>
                    <a:lnTo>
                      <a:pt x="22351" y="541710"/>
                    </a:lnTo>
                    <a:lnTo>
                      <a:pt x="21896" y="546262"/>
                    </a:lnTo>
                    <a:lnTo>
                      <a:pt x="1943511" y="546262"/>
                    </a:lnTo>
                    <a:lnTo>
                      <a:pt x="1943101" y="541710"/>
                    </a:lnTo>
                    <a:close/>
                  </a:path>
                  <a:path w="1965960" h="1374775">
                    <a:moveTo>
                      <a:pt x="1940415" y="532606"/>
                    </a:moveTo>
                    <a:lnTo>
                      <a:pt x="25037" y="532606"/>
                    </a:lnTo>
                    <a:lnTo>
                      <a:pt x="24581" y="537158"/>
                    </a:lnTo>
                    <a:lnTo>
                      <a:pt x="22760" y="541710"/>
                    </a:lnTo>
                    <a:lnTo>
                      <a:pt x="1942236" y="541710"/>
                    </a:lnTo>
                    <a:lnTo>
                      <a:pt x="1940870" y="537158"/>
                    </a:lnTo>
                    <a:lnTo>
                      <a:pt x="1940415" y="532606"/>
                    </a:lnTo>
                    <a:close/>
                  </a:path>
                  <a:path w="1965960" h="1374775">
                    <a:moveTo>
                      <a:pt x="1938503" y="528053"/>
                    </a:moveTo>
                    <a:lnTo>
                      <a:pt x="26903" y="528053"/>
                    </a:lnTo>
                    <a:lnTo>
                      <a:pt x="26448" y="532606"/>
                    </a:lnTo>
                    <a:lnTo>
                      <a:pt x="1939004" y="532606"/>
                    </a:lnTo>
                    <a:lnTo>
                      <a:pt x="1938503" y="528053"/>
                    </a:lnTo>
                    <a:close/>
                  </a:path>
                  <a:path w="1965960" h="1374775">
                    <a:moveTo>
                      <a:pt x="1937047" y="523501"/>
                    </a:moveTo>
                    <a:lnTo>
                      <a:pt x="28860" y="523501"/>
                    </a:lnTo>
                    <a:lnTo>
                      <a:pt x="27859" y="528053"/>
                    </a:lnTo>
                    <a:lnTo>
                      <a:pt x="1938048" y="528053"/>
                    </a:lnTo>
                    <a:lnTo>
                      <a:pt x="1937047" y="523501"/>
                    </a:lnTo>
                    <a:close/>
                  </a:path>
                  <a:path w="1965960" h="1374775">
                    <a:moveTo>
                      <a:pt x="1935089" y="518949"/>
                    </a:moveTo>
                    <a:lnTo>
                      <a:pt x="30363" y="518949"/>
                    </a:lnTo>
                    <a:lnTo>
                      <a:pt x="29361" y="523501"/>
                    </a:lnTo>
                    <a:lnTo>
                      <a:pt x="1936091" y="523501"/>
                    </a:lnTo>
                    <a:lnTo>
                      <a:pt x="1935089" y="518949"/>
                    </a:lnTo>
                    <a:close/>
                  </a:path>
                  <a:path w="1965960" h="1374775">
                    <a:moveTo>
                      <a:pt x="1933541" y="514397"/>
                    </a:moveTo>
                    <a:lnTo>
                      <a:pt x="31410" y="514397"/>
                    </a:lnTo>
                    <a:lnTo>
                      <a:pt x="30863" y="518949"/>
                    </a:lnTo>
                    <a:lnTo>
                      <a:pt x="1934543" y="518949"/>
                    </a:lnTo>
                    <a:lnTo>
                      <a:pt x="1933541" y="514397"/>
                    </a:lnTo>
                    <a:close/>
                  </a:path>
                  <a:path w="1965960" h="1374775">
                    <a:moveTo>
                      <a:pt x="1931948" y="509845"/>
                    </a:moveTo>
                    <a:lnTo>
                      <a:pt x="33504" y="509845"/>
                    </a:lnTo>
                    <a:lnTo>
                      <a:pt x="32411" y="514397"/>
                    </a:lnTo>
                    <a:lnTo>
                      <a:pt x="1932494" y="514397"/>
                    </a:lnTo>
                    <a:lnTo>
                      <a:pt x="1931948" y="509845"/>
                    </a:lnTo>
                    <a:close/>
                  </a:path>
                  <a:path w="1965960" h="1374775">
                    <a:moveTo>
                      <a:pt x="1930309" y="505292"/>
                    </a:moveTo>
                    <a:lnTo>
                      <a:pt x="35097" y="505292"/>
                    </a:lnTo>
                    <a:lnTo>
                      <a:pt x="34551" y="509845"/>
                    </a:lnTo>
                    <a:lnTo>
                      <a:pt x="1930856" y="509845"/>
                    </a:lnTo>
                    <a:lnTo>
                      <a:pt x="1930309" y="505292"/>
                    </a:lnTo>
                    <a:close/>
                  </a:path>
                  <a:path w="1965960" h="1374775">
                    <a:moveTo>
                      <a:pt x="1928671" y="500740"/>
                    </a:moveTo>
                    <a:lnTo>
                      <a:pt x="36781" y="500740"/>
                    </a:lnTo>
                    <a:lnTo>
                      <a:pt x="36189" y="505292"/>
                    </a:lnTo>
                    <a:lnTo>
                      <a:pt x="1929217" y="505292"/>
                    </a:lnTo>
                    <a:lnTo>
                      <a:pt x="1928671" y="500740"/>
                    </a:lnTo>
                    <a:close/>
                  </a:path>
                  <a:path w="1965960" h="1374775">
                    <a:moveTo>
                      <a:pt x="1926394" y="496188"/>
                    </a:moveTo>
                    <a:lnTo>
                      <a:pt x="39012" y="496188"/>
                    </a:lnTo>
                    <a:lnTo>
                      <a:pt x="38465" y="500740"/>
                    </a:lnTo>
                    <a:lnTo>
                      <a:pt x="1926986" y="500740"/>
                    </a:lnTo>
                    <a:lnTo>
                      <a:pt x="1926394" y="496188"/>
                    </a:lnTo>
                    <a:close/>
                  </a:path>
                  <a:path w="1965960" h="1374775">
                    <a:moveTo>
                      <a:pt x="1924665" y="491636"/>
                    </a:moveTo>
                    <a:lnTo>
                      <a:pt x="40742" y="491636"/>
                    </a:lnTo>
                    <a:lnTo>
                      <a:pt x="40195" y="496188"/>
                    </a:lnTo>
                    <a:lnTo>
                      <a:pt x="1925848" y="496188"/>
                    </a:lnTo>
                    <a:lnTo>
                      <a:pt x="1924665" y="491636"/>
                    </a:lnTo>
                    <a:close/>
                  </a:path>
                  <a:path w="1965960" h="1374775">
                    <a:moveTo>
                      <a:pt x="1922889" y="487084"/>
                    </a:moveTo>
                    <a:lnTo>
                      <a:pt x="42562" y="487084"/>
                    </a:lnTo>
                    <a:lnTo>
                      <a:pt x="41925" y="491636"/>
                    </a:lnTo>
                    <a:lnTo>
                      <a:pt x="1924073" y="491636"/>
                    </a:lnTo>
                    <a:lnTo>
                      <a:pt x="1922889" y="487084"/>
                    </a:lnTo>
                    <a:close/>
                  </a:path>
                  <a:path w="1965960" h="1374775">
                    <a:moveTo>
                      <a:pt x="1921068" y="482531"/>
                    </a:moveTo>
                    <a:lnTo>
                      <a:pt x="44338" y="482531"/>
                    </a:lnTo>
                    <a:lnTo>
                      <a:pt x="43154" y="487084"/>
                    </a:lnTo>
                    <a:lnTo>
                      <a:pt x="1921706" y="487084"/>
                    </a:lnTo>
                    <a:lnTo>
                      <a:pt x="1921068" y="482531"/>
                    </a:lnTo>
                    <a:close/>
                  </a:path>
                  <a:path w="1965960" h="1374775">
                    <a:moveTo>
                      <a:pt x="1914741" y="468875"/>
                    </a:moveTo>
                    <a:lnTo>
                      <a:pt x="50665" y="468875"/>
                    </a:lnTo>
                    <a:lnTo>
                      <a:pt x="45567" y="482531"/>
                    </a:lnTo>
                    <a:lnTo>
                      <a:pt x="1919248" y="482531"/>
                    </a:lnTo>
                    <a:lnTo>
                      <a:pt x="1915424" y="473427"/>
                    </a:lnTo>
                    <a:lnTo>
                      <a:pt x="1914741" y="468875"/>
                    </a:lnTo>
                    <a:close/>
                  </a:path>
                  <a:path w="1965960" h="1374775">
                    <a:moveTo>
                      <a:pt x="1908049" y="455218"/>
                    </a:moveTo>
                    <a:lnTo>
                      <a:pt x="57403" y="455218"/>
                    </a:lnTo>
                    <a:lnTo>
                      <a:pt x="56720" y="459771"/>
                    </a:lnTo>
                    <a:lnTo>
                      <a:pt x="53306" y="464323"/>
                    </a:lnTo>
                    <a:lnTo>
                      <a:pt x="52668" y="468875"/>
                    </a:lnTo>
                    <a:lnTo>
                      <a:pt x="1913466" y="468875"/>
                    </a:lnTo>
                    <a:lnTo>
                      <a:pt x="1912101" y="464323"/>
                    </a:lnTo>
                    <a:lnTo>
                      <a:pt x="1911463" y="464323"/>
                    </a:lnTo>
                    <a:lnTo>
                      <a:pt x="1908732" y="459771"/>
                    </a:lnTo>
                    <a:lnTo>
                      <a:pt x="1908049" y="455218"/>
                    </a:lnTo>
                    <a:close/>
                  </a:path>
                  <a:path w="1965960" h="1374775">
                    <a:moveTo>
                      <a:pt x="1905227" y="450666"/>
                    </a:moveTo>
                    <a:lnTo>
                      <a:pt x="60225" y="450666"/>
                    </a:lnTo>
                    <a:lnTo>
                      <a:pt x="59497" y="455218"/>
                    </a:lnTo>
                    <a:lnTo>
                      <a:pt x="1905955" y="455218"/>
                    </a:lnTo>
                    <a:lnTo>
                      <a:pt x="1905227" y="450666"/>
                    </a:lnTo>
                    <a:close/>
                  </a:path>
                  <a:path w="1965960" h="1374775">
                    <a:moveTo>
                      <a:pt x="1903087" y="446114"/>
                    </a:moveTo>
                    <a:lnTo>
                      <a:pt x="62364" y="446114"/>
                    </a:lnTo>
                    <a:lnTo>
                      <a:pt x="61636" y="450666"/>
                    </a:lnTo>
                    <a:lnTo>
                      <a:pt x="1903816" y="450666"/>
                    </a:lnTo>
                    <a:lnTo>
                      <a:pt x="1903087" y="446114"/>
                    </a:lnTo>
                    <a:close/>
                  </a:path>
                  <a:path w="1965960" h="1374775">
                    <a:moveTo>
                      <a:pt x="1900174" y="441562"/>
                    </a:moveTo>
                    <a:lnTo>
                      <a:pt x="65278" y="441562"/>
                    </a:lnTo>
                    <a:lnTo>
                      <a:pt x="64550" y="446114"/>
                    </a:lnTo>
                    <a:lnTo>
                      <a:pt x="1900902" y="446114"/>
                    </a:lnTo>
                    <a:lnTo>
                      <a:pt x="1900174" y="441562"/>
                    </a:lnTo>
                    <a:close/>
                  </a:path>
                  <a:path w="1965960" h="1374775">
                    <a:moveTo>
                      <a:pt x="1897943" y="437010"/>
                    </a:moveTo>
                    <a:lnTo>
                      <a:pt x="67508" y="437010"/>
                    </a:lnTo>
                    <a:lnTo>
                      <a:pt x="66780" y="441562"/>
                    </a:lnTo>
                    <a:lnTo>
                      <a:pt x="1898672" y="441562"/>
                    </a:lnTo>
                    <a:lnTo>
                      <a:pt x="1897943" y="437010"/>
                    </a:lnTo>
                    <a:close/>
                  </a:path>
                  <a:path w="1965960" h="1374775">
                    <a:moveTo>
                      <a:pt x="1895667" y="432457"/>
                    </a:moveTo>
                    <a:lnTo>
                      <a:pt x="69785" y="432457"/>
                    </a:lnTo>
                    <a:lnTo>
                      <a:pt x="69011" y="437010"/>
                    </a:lnTo>
                    <a:lnTo>
                      <a:pt x="1896441" y="437010"/>
                    </a:lnTo>
                    <a:lnTo>
                      <a:pt x="1895667" y="432457"/>
                    </a:lnTo>
                    <a:close/>
                  </a:path>
                  <a:path w="1965960" h="1374775">
                    <a:moveTo>
                      <a:pt x="1891798" y="427905"/>
                    </a:moveTo>
                    <a:lnTo>
                      <a:pt x="73608" y="427905"/>
                    </a:lnTo>
                    <a:lnTo>
                      <a:pt x="72061" y="432457"/>
                    </a:lnTo>
                    <a:lnTo>
                      <a:pt x="1893346" y="432457"/>
                    </a:lnTo>
                    <a:lnTo>
                      <a:pt x="1891798" y="427905"/>
                    </a:lnTo>
                    <a:close/>
                  </a:path>
                  <a:path w="1965960" h="1374775">
                    <a:moveTo>
                      <a:pt x="1890250" y="423353"/>
                    </a:moveTo>
                    <a:lnTo>
                      <a:pt x="75976" y="423353"/>
                    </a:lnTo>
                    <a:lnTo>
                      <a:pt x="74428" y="427905"/>
                    </a:lnTo>
                    <a:lnTo>
                      <a:pt x="1891024" y="427905"/>
                    </a:lnTo>
                    <a:lnTo>
                      <a:pt x="1890250" y="423353"/>
                    </a:lnTo>
                    <a:close/>
                  </a:path>
                  <a:path w="1965960" h="1374775">
                    <a:moveTo>
                      <a:pt x="1881328" y="409696"/>
                    </a:moveTo>
                    <a:lnTo>
                      <a:pt x="84943" y="409696"/>
                    </a:lnTo>
                    <a:lnTo>
                      <a:pt x="78388" y="418801"/>
                    </a:lnTo>
                    <a:lnTo>
                      <a:pt x="77569" y="423353"/>
                    </a:lnTo>
                    <a:lnTo>
                      <a:pt x="1887837" y="423353"/>
                    </a:lnTo>
                    <a:lnTo>
                      <a:pt x="1887064" y="418801"/>
                    </a:lnTo>
                    <a:lnTo>
                      <a:pt x="1881328" y="409696"/>
                    </a:lnTo>
                    <a:close/>
                  </a:path>
                  <a:path w="1965960" h="1374775">
                    <a:moveTo>
                      <a:pt x="1878779" y="405144"/>
                    </a:moveTo>
                    <a:lnTo>
                      <a:pt x="86628" y="405144"/>
                    </a:lnTo>
                    <a:lnTo>
                      <a:pt x="85808" y="409696"/>
                    </a:lnTo>
                    <a:lnTo>
                      <a:pt x="1879644" y="409696"/>
                    </a:lnTo>
                    <a:lnTo>
                      <a:pt x="1878779" y="405144"/>
                    </a:lnTo>
                    <a:close/>
                  </a:path>
                  <a:path w="1965960" h="1374775">
                    <a:moveTo>
                      <a:pt x="1875364" y="400592"/>
                    </a:moveTo>
                    <a:lnTo>
                      <a:pt x="89177" y="400592"/>
                    </a:lnTo>
                    <a:lnTo>
                      <a:pt x="88357" y="405144"/>
                    </a:lnTo>
                    <a:lnTo>
                      <a:pt x="1877959" y="405144"/>
                    </a:lnTo>
                    <a:lnTo>
                      <a:pt x="1875364" y="400592"/>
                    </a:lnTo>
                    <a:close/>
                  </a:path>
                  <a:path w="1965960" h="1374775">
                    <a:moveTo>
                      <a:pt x="1871905" y="396040"/>
                    </a:moveTo>
                    <a:lnTo>
                      <a:pt x="92637" y="396040"/>
                    </a:lnTo>
                    <a:lnTo>
                      <a:pt x="90907" y="400592"/>
                    </a:lnTo>
                    <a:lnTo>
                      <a:pt x="1874500" y="400592"/>
                    </a:lnTo>
                    <a:lnTo>
                      <a:pt x="1871905" y="396040"/>
                    </a:lnTo>
                    <a:close/>
                  </a:path>
                  <a:path w="1965960" h="1374775">
                    <a:moveTo>
                      <a:pt x="1870129" y="391488"/>
                    </a:moveTo>
                    <a:lnTo>
                      <a:pt x="95277" y="391488"/>
                    </a:lnTo>
                    <a:lnTo>
                      <a:pt x="94412" y="396040"/>
                    </a:lnTo>
                    <a:lnTo>
                      <a:pt x="1871040" y="396040"/>
                    </a:lnTo>
                    <a:lnTo>
                      <a:pt x="1870129" y="391488"/>
                    </a:lnTo>
                    <a:close/>
                  </a:path>
                  <a:path w="1965960" h="1374775">
                    <a:moveTo>
                      <a:pt x="1866579" y="386935"/>
                    </a:moveTo>
                    <a:lnTo>
                      <a:pt x="98873" y="386935"/>
                    </a:lnTo>
                    <a:lnTo>
                      <a:pt x="97963" y="391488"/>
                    </a:lnTo>
                    <a:lnTo>
                      <a:pt x="1867489" y="391488"/>
                    </a:lnTo>
                    <a:lnTo>
                      <a:pt x="1866579" y="386935"/>
                    </a:lnTo>
                    <a:close/>
                  </a:path>
                  <a:path w="1965960" h="1374775">
                    <a:moveTo>
                      <a:pt x="1862937" y="382383"/>
                    </a:moveTo>
                    <a:lnTo>
                      <a:pt x="102469" y="382383"/>
                    </a:lnTo>
                    <a:lnTo>
                      <a:pt x="100648" y="386935"/>
                    </a:lnTo>
                    <a:lnTo>
                      <a:pt x="1864758" y="386935"/>
                    </a:lnTo>
                    <a:lnTo>
                      <a:pt x="1862937" y="382383"/>
                    </a:lnTo>
                    <a:close/>
                  </a:path>
                  <a:path w="1965960" h="1374775">
                    <a:moveTo>
                      <a:pt x="1860206" y="377831"/>
                    </a:moveTo>
                    <a:lnTo>
                      <a:pt x="105246" y="377831"/>
                    </a:lnTo>
                    <a:lnTo>
                      <a:pt x="103425" y="382383"/>
                    </a:lnTo>
                    <a:lnTo>
                      <a:pt x="1862027" y="382383"/>
                    </a:lnTo>
                    <a:lnTo>
                      <a:pt x="1860206" y="377831"/>
                    </a:lnTo>
                    <a:close/>
                  </a:path>
                  <a:path w="1965960" h="1374775">
                    <a:moveTo>
                      <a:pt x="1856427" y="373279"/>
                    </a:moveTo>
                    <a:lnTo>
                      <a:pt x="108068" y="373279"/>
                    </a:lnTo>
                    <a:lnTo>
                      <a:pt x="107112" y="377831"/>
                    </a:lnTo>
                    <a:lnTo>
                      <a:pt x="1858339" y="377831"/>
                    </a:lnTo>
                    <a:lnTo>
                      <a:pt x="1856427" y="373279"/>
                    </a:lnTo>
                    <a:close/>
                  </a:path>
                  <a:path w="1965960" h="1374775">
                    <a:moveTo>
                      <a:pt x="1849781" y="364175"/>
                    </a:moveTo>
                    <a:lnTo>
                      <a:pt x="116627" y="364175"/>
                    </a:lnTo>
                    <a:lnTo>
                      <a:pt x="108979" y="373279"/>
                    </a:lnTo>
                    <a:lnTo>
                      <a:pt x="1855517" y="373279"/>
                    </a:lnTo>
                    <a:lnTo>
                      <a:pt x="1849781" y="364175"/>
                    </a:lnTo>
                    <a:close/>
                  </a:path>
                  <a:path w="1965960" h="1374775">
                    <a:moveTo>
                      <a:pt x="1842907" y="355070"/>
                    </a:moveTo>
                    <a:lnTo>
                      <a:pt x="123546" y="355070"/>
                    </a:lnTo>
                    <a:lnTo>
                      <a:pt x="118584" y="359622"/>
                    </a:lnTo>
                    <a:lnTo>
                      <a:pt x="117628" y="364175"/>
                    </a:lnTo>
                    <a:lnTo>
                      <a:pt x="1847824" y="364175"/>
                    </a:lnTo>
                    <a:lnTo>
                      <a:pt x="1846822" y="359622"/>
                    </a:lnTo>
                    <a:lnTo>
                      <a:pt x="1843863" y="359622"/>
                    </a:lnTo>
                    <a:lnTo>
                      <a:pt x="1842907" y="355070"/>
                    </a:lnTo>
                    <a:close/>
                  </a:path>
                  <a:path w="1965960" h="1374775">
                    <a:moveTo>
                      <a:pt x="1839903" y="350518"/>
                    </a:moveTo>
                    <a:lnTo>
                      <a:pt x="126550" y="350518"/>
                    </a:lnTo>
                    <a:lnTo>
                      <a:pt x="124547" y="355070"/>
                    </a:lnTo>
                    <a:lnTo>
                      <a:pt x="1840904" y="355070"/>
                    </a:lnTo>
                    <a:lnTo>
                      <a:pt x="1839903" y="350518"/>
                    </a:lnTo>
                    <a:close/>
                  </a:path>
                  <a:path w="1965960" h="1374775">
                    <a:moveTo>
                      <a:pt x="1835806" y="345966"/>
                    </a:moveTo>
                    <a:lnTo>
                      <a:pt x="131649" y="345966"/>
                    </a:lnTo>
                    <a:lnTo>
                      <a:pt x="128599" y="350518"/>
                    </a:lnTo>
                    <a:lnTo>
                      <a:pt x="1836853" y="350518"/>
                    </a:lnTo>
                    <a:lnTo>
                      <a:pt x="1835806" y="345966"/>
                    </a:lnTo>
                    <a:close/>
                  </a:path>
                  <a:path w="1965960" h="1374775">
                    <a:moveTo>
                      <a:pt x="1831709" y="341414"/>
                    </a:moveTo>
                    <a:lnTo>
                      <a:pt x="134744" y="341414"/>
                    </a:lnTo>
                    <a:lnTo>
                      <a:pt x="132696" y="345966"/>
                    </a:lnTo>
                    <a:lnTo>
                      <a:pt x="1833757" y="345966"/>
                    </a:lnTo>
                    <a:lnTo>
                      <a:pt x="1831709" y="341414"/>
                    </a:lnTo>
                    <a:close/>
                  </a:path>
                  <a:path w="1965960" h="1374775">
                    <a:moveTo>
                      <a:pt x="1822240" y="332309"/>
                    </a:moveTo>
                    <a:lnTo>
                      <a:pt x="141072" y="332309"/>
                    </a:lnTo>
                    <a:lnTo>
                      <a:pt x="138978" y="336861"/>
                    </a:lnTo>
                    <a:lnTo>
                      <a:pt x="136838" y="336861"/>
                    </a:lnTo>
                    <a:lnTo>
                      <a:pt x="135791" y="341414"/>
                    </a:lnTo>
                    <a:lnTo>
                      <a:pt x="1829615" y="341414"/>
                    </a:lnTo>
                    <a:lnTo>
                      <a:pt x="1828568" y="336861"/>
                    </a:lnTo>
                    <a:lnTo>
                      <a:pt x="1822240" y="332309"/>
                    </a:lnTo>
                    <a:close/>
                  </a:path>
                  <a:path w="1965960" h="1374775">
                    <a:moveTo>
                      <a:pt x="1820101" y="327757"/>
                    </a:moveTo>
                    <a:lnTo>
                      <a:pt x="146443" y="327757"/>
                    </a:lnTo>
                    <a:lnTo>
                      <a:pt x="144258" y="332309"/>
                    </a:lnTo>
                    <a:lnTo>
                      <a:pt x="1821148" y="332309"/>
                    </a:lnTo>
                    <a:lnTo>
                      <a:pt x="1820101" y="327757"/>
                    </a:lnTo>
                    <a:close/>
                  </a:path>
                  <a:path w="1965960" h="1374775">
                    <a:moveTo>
                      <a:pt x="1812453" y="318653"/>
                    </a:moveTo>
                    <a:lnTo>
                      <a:pt x="154091" y="318653"/>
                    </a:lnTo>
                    <a:lnTo>
                      <a:pt x="151860" y="323205"/>
                    </a:lnTo>
                    <a:lnTo>
                      <a:pt x="148583" y="323205"/>
                    </a:lnTo>
                    <a:lnTo>
                      <a:pt x="147536" y="327757"/>
                    </a:lnTo>
                    <a:lnTo>
                      <a:pt x="1817916" y="327757"/>
                    </a:lnTo>
                    <a:lnTo>
                      <a:pt x="1812453" y="318653"/>
                    </a:lnTo>
                    <a:close/>
                  </a:path>
                  <a:path w="1965960" h="1374775">
                    <a:moveTo>
                      <a:pt x="1800117" y="304996"/>
                    </a:moveTo>
                    <a:lnTo>
                      <a:pt x="165335" y="304996"/>
                    </a:lnTo>
                    <a:lnTo>
                      <a:pt x="163059" y="309548"/>
                    </a:lnTo>
                    <a:lnTo>
                      <a:pt x="161921" y="309548"/>
                    </a:lnTo>
                    <a:lnTo>
                      <a:pt x="160783" y="314100"/>
                    </a:lnTo>
                    <a:lnTo>
                      <a:pt x="155184" y="318653"/>
                    </a:lnTo>
                    <a:lnTo>
                      <a:pt x="1809130" y="318653"/>
                    </a:lnTo>
                    <a:lnTo>
                      <a:pt x="1807992" y="314100"/>
                    </a:lnTo>
                    <a:lnTo>
                      <a:pt x="1805761" y="314100"/>
                    </a:lnTo>
                    <a:lnTo>
                      <a:pt x="1802393" y="309548"/>
                    </a:lnTo>
                    <a:lnTo>
                      <a:pt x="1800117" y="304996"/>
                    </a:lnTo>
                    <a:close/>
                  </a:path>
                  <a:path w="1965960" h="1374775">
                    <a:moveTo>
                      <a:pt x="1795519" y="300444"/>
                    </a:moveTo>
                    <a:lnTo>
                      <a:pt x="172254" y="300444"/>
                    </a:lnTo>
                    <a:lnTo>
                      <a:pt x="168795" y="304996"/>
                    </a:lnTo>
                    <a:lnTo>
                      <a:pt x="1797795" y="304996"/>
                    </a:lnTo>
                    <a:lnTo>
                      <a:pt x="1795519" y="300444"/>
                    </a:lnTo>
                    <a:close/>
                  </a:path>
                  <a:path w="1965960" h="1374775">
                    <a:moveTo>
                      <a:pt x="1790830" y="295892"/>
                    </a:moveTo>
                    <a:lnTo>
                      <a:pt x="174576" y="295892"/>
                    </a:lnTo>
                    <a:lnTo>
                      <a:pt x="173438" y="300444"/>
                    </a:lnTo>
                    <a:lnTo>
                      <a:pt x="1793197" y="300444"/>
                    </a:lnTo>
                    <a:lnTo>
                      <a:pt x="1790830" y="295892"/>
                    </a:lnTo>
                    <a:close/>
                  </a:path>
                  <a:path w="1965960" h="1374775">
                    <a:moveTo>
                      <a:pt x="1786142" y="291340"/>
                    </a:moveTo>
                    <a:lnTo>
                      <a:pt x="179310" y="291340"/>
                    </a:lnTo>
                    <a:lnTo>
                      <a:pt x="178127" y="295892"/>
                    </a:lnTo>
                    <a:lnTo>
                      <a:pt x="1787325" y="295892"/>
                    </a:lnTo>
                    <a:lnTo>
                      <a:pt x="1786142" y="291340"/>
                    </a:lnTo>
                    <a:close/>
                  </a:path>
                  <a:path w="1965960" h="1374775">
                    <a:moveTo>
                      <a:pt x="1781362" y="286787"/>
                    </a:moveTo>
                    <a:lnTo>
                      <a:pt x="185274" y="286787"/>
                    </a:lnTo>
                    <a:lnTo>
                      <a:pt x="182861" y="291340"/>
                    </a:lnTo>
                    <a:lnTo>
                      <a:pt x="1782545" y="291340"/>
                    </a:lnTo>
                    <a:lnTo>
                      <a:pt x="1781362" y="286787"/>
                    </a:lnTo>
                    <a:close/>
                  </a:path>
                  <a:path w="1965960" h="1374775">
                    <a:moveTo>
                      <a:pt x="1776536" y="282235"/>
                    </a:moveTo>
                    <a:lnTo>
                      <a:pt x="188915" y="282235"/>
                    </a:lnTo>
                    <a:lnTo>
                      <a:pt x="187686" y="286787"/>
                    </a:lnTo>
                    <a:lnTo>
                      <a:pt x="1777766" y="286787"/>
                    </a:lnTo>
                    <a:lnTo>
                      <a:pt x="1776536" y="282235"/>
                    </a:lnTo>
                    <a:close/>
                  </a:path>
                  <a:path w="1965960" h="1374775">
                    <a:moveTo>
                      <a:pt x="1771666" y="277683"/>
                    </a:moveTo>
                    <a:lnTo>
                      <a:pt x="193786" y="277683"/>
                    </a:lnTo>
                    <a:lnTo>
                      <a:pt x="192557" y="282235"/>
                    </a:lnTo>
                    <a:lnTo>
                      <a:pt x="1772895" y="282235"/>
                    </a:lnTo>
                    <a:lnTo>
                      <a:pt x="1771666" y="277683"/>
                    </a:lnTo>
                    <a:close/>
                  </a:path>
                  <a:path w="1965960" h="1374775">
                    <a:moveTo>
                      <a:pt x="1764246" y="273131"/>
                    </a:moveTo>
                    <a:lnTo>
                      <a:pt x="198703" y="273131"/>
                    </a:lnTo>
                    <a:lnTo>
                      <a:pt x="197473" y="277683"/>
                    </a:lnTo>
                    <a:lnTo>
                      <a:pt x="1770437" y="277683"/>
                    </a:lnTo>
                    <a:lnTo>
                      <a:pt x="1764246" y="273131"/>
                    </a:lnTo>
                    <a:close/>
                  </a:path>
                  <a:path w="1965960" h="1374775">
                    <a:moveTo>
                      <a:pt x="1761742" y="268579"/>
                    </a:moveTo>
                    <a:lnTo>
                      <a:pt x="203710" y="268579"/>
                    </a:lnTo>
                    <a:lnTo>
                      <a:pt x="202435" y="273131"/>
                    </a:lnTo>
                    <a:lnTo>
                      <a:pt x="1762971" y="273131"/>
                    </a:lnTo>
                    <a:lnTo>
                      <a:pt x="1761742" y="268579"/>
                    </a:lnTo>
                    <a:close/>
                  </a:path>
                  <a:path w="1965960" h="1374775">
                    <a:moveTo>
                      <a:pt x="1751590" y="259474"/>
                    </a:moveTo>
                    <a:lnTo>
                      <a:pt x="213861" y="259474"/>
                    </a:lnTo>
                    <a:lnTo>
                      <a:pt x="204939" y="268579"/>
                    </a:lnTo>
                    <a:lnTo>
                      <a:pt x="1759238" y="268579"/>
                    </a:lnTo>
                    <a:lnTo>
                      <a:pt x="1751590" y="259474"/>
                    </a:lnTo>
                    <a:close/>
                  </a:path>
                  <a:path w="1965960" h="1374775">
                    <a:moveTo>
                      <a:pt x="1741211" y="250370"/>
                    </a:moveTo>
                    <a:lnTo>
                      <a:pt x="225515" y="250370"/>
                    </a:lnTo>
                    <a:lnTo>
                      <a:pt x="221600" y="254922"/>
                    </a:lnTo>
                    <a:lnTo>
                      <a:pt x="219005" y="254922"/>
                    </a:lnTo>
                    <a:lnTo>
                      <a:pt x="216411" y="259474"/>
                    </a:lnTo>
                    <a:lnTo>
                      <a:pt x="1747721" y="259474"/>
                    </a:lnTo>
                    <a:lnTo>
                      <a:pt x="1742532" y="254922"/>
                    </a:lnTo>
                    <a:lnTo>
                      <a:pt x="1741211" y="250370"/>
                    </a:lnTo>
                    <a:close/>
                  </a:path>
                  <a:path w="1965960" h="1374775">
                    <a:moveTo>
                      <a:pt x="1735976" y="245818"/>
                    </a:moveTo>
                    <a:lnTo>
                      <a:pt x="229475" y="245818"/>
                    </a:lnTo>
                    <a:lnTo>
                      <a:pt x="228155" y="250370"/>
                    </a:lnTo>
                    <a:lnTo>
                      <a:pt x="1737297" y="250370"/>
                    </a:lnTo>
                    <a:lnTo>
                      <a:pt x="1735976" y="245818"/>
                    </a:lnTo>
                    <a:close/>
                  </a:path>
                  <a:path w="1965960" h="1374775">
                    <a:moveTo>
                      <a:pt x="1730650" y="241265"/>
                    </a:moveTo>
                    <a:lnTo>
                      <a:pt x="234801" y="241265"/>
                    </a:lnTo>
                    <a:lnTo>
                      <a:pt x="233436" y="245818"/>
                    </a:lnTo>
                    <a:lnTo>
                      <a:pt x="1733291" y="245818"/>
                    </a:lnTo>
                    <a:lnTo>
                      <a:pt x="1730650" y="241265"/>
                    </a:lnTo>
                    <a:close/>
                  </a:path>
                  <a:path w="1965960" h="1374775">
                    <a:moveTo>
                      <a:pt x="1725279" y="236713"/>
                    </a:moveTo>
                    <a:lnTo>
                      <a:pt x="240173" y="236713"/>
                    </a:lnTo>
                    <a:lnTo>
                      <a:pt x="238807" y="241265"/>
                    </a:lnTo>
                    <a:lnTo>
                      <a:pt x="1726644" y="241265"/>
                    </a:lnTo>
                    <a:lnTo>
                      <a:pt x="1725279" y="236713"/>
                    </a:lnTo>
                    <a:close/>
                  </a:path>
                  <a:path w="1965960" h="1374775">
                    <a:moveTo>
                      <a:pt x="1719862" y="232161"/>
                    </a:moveTo>
                    <a:lnTo>
                      <a:pt x="245590" y="232161"/>
                    </a:lnTo>
                    <a:lnTo>
                      <a:pt x="241493" y="236713"/>
                    </a:lnTo>
                    <a:lnTo>
                      <a:pt x="1722593" y="236713"/>
                    </a:lnTo>
                    <a:lnTo>
                      <a:pt x="1719862" y="232161"/>
                    </a:lnTo>
                    <a:close/>
                  </a:path>
                  <a:path w="1965960" h="1374775">
                    <a:moveTo>
                      <a:pt x="1706114" y="223057"/>
                    </a:moveTo>
                    <a:lnTo>
                      <a:pt x="259338" y="223057"/>
                    </a:lnTo>
                    <a:lnTo>
                      <a:pt x="252418" y="227609"/>
                    </a:lnTo>
                    <a:lnTo>
                      <a:pt x="251053" y="232161"/>
                    </a:lnTo>
                    <a:lnTo>
                      <a:pt x="1714399" y="232161"/>
                    </a:lnTo>
                    <a:lnTo>
                      <a:pt x="1713033" y="227609"/>
                    </a:lnTo>
                    <a:lnTo>
                      <a:pt x="1710257" y="227609"/>
                    </a:lnTo>
                    <a:lnTo>
                      <a:pt x="1706114" y="223057"/>
                    </a:lnTo>
                    <a:close/>
                  </a:path>
                  <a:path w="1965960" h="1374775">
                    <a:moveTo>
                      <a:pt x="1696281" y="213952"/>
                    </a:moveTo>
                    <a:lnTo>
                      <a:pt x="271993" y="213952"/>
                    </a:lnTo>
                    <a:lnTo>
                      <a:pt x="263526" y="218505"/>
                    </a:lnTo>
                    <a:lnTo>
                      <a:pt x="260749" y="223057"/>
                    </a:lnTo>
                    <a:lnTo>
                      <a:pt x="1703292" y="223057"/>
                    </a:lnTo>
                    <a:lnTo>
                      <a:pt x="1700515" y="218505"/>
                    </a:lnTo>
                    <a:lnTo>
                      <a:pt x="1696281" y="213952"/>
                    </a:lnTo>
                    <a:close/>
                  </a:path>
                  <a:path w="1965960" h="1374775">
                    <a:moveTo>
                      <a:pt x="1689134" y="209400"/>
                    </a:moveTo>
                    <a:lnTo>
                      <a:pt x="276272" y="209400"/>
                    </a:lnTo>
                    <a:lnTo>
                      <a:pt x="274861" y="213952"/>
                    </a:lnTo>
                    <a:lnTo>
                      <a:pt x="1690591" y="213952"/>
                    </a:lnTo>
                    <a:lnTo>
                      <a:pt x="1689134" y="209400"/>
                    </a:lnTo>
                    <a:close/>
                  </a:path>
                  <a:path w="1965960" h="1374775">
                    <a:moveTo>
                      <a:pt x="1683399" y="204848"/>
                    </a:moveTo>
                    <a:lnTo>
                      <a:pt x="282053" y="204848"/>
                    </a:lnTo>
                    <a:lnTo>
                      <a:pt x="280596" y="209400"/>
                    </a:lnTo>
                    <a:lnTo>
                      <a:pt x="1684855" y="209400"/>
                    </a:lnTo>
                    <a:lnTo>
                      <a:pt x="1683399" y="204848"/>
                    </a:lnTo>
                    <a:close/>
                  </a:path>
                  <a:path w="1965960" h="1374775">
                    <a:moveTo>
                      <a:pt x="1674704" y="200296"/>
                    </a:moveTo>
                    <a:lnTo>
                      <a:pt x="290748" y="200296"/>
                    </a:lnTo>
                    <a:lnTo>
                      <a:pt x="287834" y="204848"/>
                    </a:lnTo>
                    <a:lnTo>
                      <a:pt x="1677617" y="204848"/>
                    </a:lnTo>
                    <a:lnTo>
                      <a:pt x="1674704" y="200296"/>
                    </a:lnTo>
                    <a:close/>
                  </a:path>
                  <a:path w="1965960" h="1374775">
                    <a:moveTo>
                      <a:pt x="1668832" y="195744"/>
                    </a:moveTo>
                    <a:lnTo>
                      <a:pt x="295163" y="195744"/>
                    </a:lnTo>
                    <a:lnTo>
                      <a:pt x="293661" y="200296"/>
                    </a:lnTo>
                    <a:lnTo>
                      <a:pt x="1673202" y="200296"/>
                    </a:lnTo>
                    <a:lnTo>
                      <a:pt x="1668832" y="195744"/>
                    </a:lnTo>
                    <a:close/>
                  </a:path>
                  <a:path w="1965960" h="1374775">
                    <a:moveTo>
                      <a:pt x="1662914" y="191191"/>
                    </a:moveTo>
                    <a:lnTo>
                      <a:pt x="304040" y="191191"/>
                    </a:lnTo>
                    <a:lnTo>
                      <a:pt x="301036" y="195744"/>
                    </a:lnTo>
                    <a:lnTo>
                      <a:pt x="1664371" y="195744"/>
                    </a:lnTo>
                    <a:lnTo>
                      <a:pt x="1662914" y="191191"/>
                    </a:lnTo>
                    <a:close/>
                  </a:path>
                  <a:path w="1965960" h="1374775">
                    <a:moveTo>
                      <a:pt x="1656950" y="186639"/>
                    </a:moveTo>
                    <a:lnTo>
                      <a:pt x="308501" y="186639"/>
                    </a:lnTo>
                    <a:lnTo>
                      <a:pt x="306999" y="191191"/>
                    </a:lnTo>
                    <a:lnTo>
                      <a:pt x="1658407" y="191191"/>
                    </a:lnTo>
                    <a:lnTo>
                      <a:pt x="1656950" y="186639"/>
                    </a:lnTo>
                    <a:close/>
                  </a:path>
                  <a:path w="1965960" h="1374775">
                    <a:moveTo>
                      <a:pt x="1649394" y="182087"/>
                    </a:moveTo>
                    <a:lnTo>
                      <a:pt x="316012" y="182087"/>
                    </a:lnTo>
                    <a:lnTo>
                      <a:pt x="314510" y="186639"/>
                    </a:lnTo>
                    <a:lnTo>
                      <a:pt x="1650942" y="186639"/>
                    </a:lnTo>
                    <a:lnTo>
                      <a:pt x="1649394" y="182087"/>
                    </a:lnTo>
                    <a:close/>
                  </a:path>
                  <a:path w="1965960" h="1374775">
                    <a:moveTo>
                      <a:pt x="1641792" y="177535"/>
                    </a:moveTo>
                    <a:lnTo>
                      <a:pt x="323615" y="177535"/>
                    </a:lnTo>
                    <a:lnTo>
                      <a:pt x="322112" y="182087"/>
                    </a:lnTo>
                    <a:lnTo>
                      <a:pt x="1643339" y="182087"/>
                    </a:lnTo>
                    <a:lnTo>
                      <a:pt x="1641792" y="177535"/>
                    </a:lnTo>
                    <a:close/>
                  </a:path>
                  <a:path w="1965960" h="1374775">
                    <a:moveTo>
                      <a:pt x="1631049" y="172983"/>
                    </a:moveTo>
                    <a:lnTo>
                      <a:pt x="334403" y="172983"/>
                    </a:lnTo>
                    <a:lnTo>
                      <a:pt x="326665" y="177535"/>
                    </a:lnTo>
                    <a:lnTo>
                      <a:pt x="1637239" y="177535"/>
                    </a:lnTo>
                    <a:lnTo>
                      <a:pt x="1631049" y="172983"/>
                    </a:lnTo>
                    <a:close/>
                  </a:path>
                  <a:path w="1965960" h="1374775">
                    <a:moveTo>
                      <a:pt x="1624858" y="168430"/>
                    </a:moveTo>
                    <a:lnTo>
                      <a:pt x="340594" y="168430"/>
                    </a:lnTo>
                    <a:lnTo>
                      <a:pt x="335951" y="172983"/>
                    </a:lnTo>
                    <a:lnTo>
                      <a:pt x="1629501" y="172983"/>
                    </a:lnTo>
                    <a:lnTo>
                      <a:pt x="1624858" y="168430"/>
                    </a:lnTo>
                    <a:close/>
                  </a:path>
                  <a:path w="1965960" h="1374775">
                    <a:moveTo>
                      <a:pt x="1620169" y="163878"/>
                    </a:moveTo>
                    <a:lnTo>
                      <a:pt x="345283" y="163878"/>
                    </a:lnTo>
                    <a:lnTo>
                      <a:pt x="343735" y="168430"/>
                    </a:lnTo>
                    <a:lnTo>
                      <a:pt x="1621717" y="168430"/>
                    </a:lnTo>
                    <a:lnTo>
                      <a:pt x="1620169" y="163878"/>
                    </a:lnTo>
                    <a:close/>
                  </a:path>
                  <a:path w="1965960" h="1374775">
                    <a:moveTo>
                      <a:pt x="1612293" y="159326"/>
                    </a:moveTo>
                    <a:lnTo>
                      <a:pt x="353158" y="159326"/>
                    </a:lnTo>
                    <a:lnTo>
                      <a:pt x="349972" y="163878"/>
                    </a:lnTo>
                    <a:lnTo>
                      <a:pt x="1613887" y="163878"/>
                    </a:lnTo>
                    <a:lnTo>
                      <a:pt x="1612293" y="159326"/>
                    </a:lnTo>
                    <a:close/>
                  </a:path>
                  <a:path w="1965960" h="1374775">
                    <a:moveTo>
                      <a:pt x="1602779" y="154774"/>
                    </a:moveTo>
                    <a:lnTo>
                      <a:pt x="365859" y="154774"/>
                    </a:lnTo>
                    <a:lnTo>
                      <a:pt x="354706" y="159326"/>
                    </a:lnTo>
                    <a:lnTo>
                      <a:pt x="1607559" y="159326"/>
                    </a:lnTo>
                    <a:lnTo>
                      <a:pt x="1602779" y="154774"/>
                    </a:lnTo>
                    <a:close/>
                  </a:path>
                  <a:path w="1965960" h="1374775">
                    <a:moveTo>
                      <a:pt x="1596361" y="150222"/>
                    </a:moveTo>
                    <a:lnTo>
                      <a:pt x="369091" y="150222"/>
                    </a:lnTo>
                    <a:lnTo>
                      <a:pt x="367498" y="154774"/>
                    </a:lnTo>
                    <a:lnTo>
                      <a:pt x="1601141" y="154774"/>
                    </a:lnTo>
                    <a:lnTo>
                      <a:pt x="1596361" y="150222"/>
                    </a:lnTo>
                    <a:close/>
                  </a:path>
                  <a:path w="1965960" h="1374775">
                    <a:moveTo>
                      <a:pt x="1588258" y="145670"/>
                    </a:moveTo>
                    <a:lnTo>
                      <a:pt x="377148" y="145670"/>
                    </a:lnTo>
                    <a:lnTo>
                      <a:pt x="375555" y="150222"/>
                    </a:lnTo>
                    <a:lnTo>
                      <a:pt x="1589897" y="150222"/>
                    </a:lnTo>
                    <a:lnTo>
                      <a:pt x="1588258" y="145670"/>
                    </a:lnTo>
                    <a:close/>
                  </a:path>
                  <a:path w="1965960" h="1374775">
                    <a:moveTo>
                      <a:pt x="1571916" y="136565"/>
                    </a:moveTo>
                    <a:lnTo>
                      <a:pt x="395129" y="136565"/>
                    </a:lnTo>
                    <a:lnTo>
                      <a:pt x="385297" y="141117"/>
                    </a:lnTo>
                    <a:lnTo>
                      <a:pt x="383658" y="145670"/>
                    </a:lnTo>
                    <a:lnTo>
                      <a:pt x="1581794" y="145670"/>
                    </a:lnTo>
                    <a:lnTo>
                      <a:pt x="1580155" y="141117"/>
                    </a:lnTo>
                    <a:lnTo>
                      <a:pt x="1573600" y="141117"/>
                    </a:lnTo>
                    <a:lnTo>
                      <a:pt x="1571916" y="136565"/>
                    </a:lnTo>
                    <a:close/>
                  </a:path>
                  <a:path w="1965960" h="1374775">
                    <a:moveTo>
                      <a:pt x="1561992" y="132013"/>
                    </a:moveTo>
                    <a:lnTo>
                      <a:pt x="403414" y="132013"/>
                    </a:lnTo>
                    <a:lnTo>
                      <a:pt x="401776" y="136565"/>
                    </a:lnTo>
                    <a:lnTo>
                      <a:pt x="1563676" y="136565"/>
                    </a:lnTo>
                    <a:lnTo>
                      <a:pt x="1561992" y="132013"/>
                    </a:lnTo>
                    <a:close/>
                  </a:path>
                  <a:path w="1965960" h="1374775">
                    <a:moveTo>
                      <a:pt x="1553661" y="127461"/>
                    </a:moveTo>
                    <a:lnTo>
                      <a:pt x="411790" y="127461"/>
                    </a:lnTo>
                    <a:lnTo>
                      <a:pt x="410106" y="132013"/>
                    </a:lnTo>
                    <a:lnTo>
                      <a:pt x="1555346" y="132013"/>
                    </a:lnTo>
                    <a:lnTo>
                      <a:pt x="1553661" y="127461"/>
                    </a:lnTo>
                    <a:close/>
                  </a:path>
                  <a:path w="1965960" h="1374775">
                    <a:moveTo>
                      <a:pt x="1538503" y="122909"/>
                    </a:moveTo>
                    <a:lnTo>
                      <a:pt x="421851" y="122909"/>
                    </a:lnTo>
                    <a:lnTo>
                      <a:pt x="416798" y="127461"/>
                    </a:lnTo>
                    <a:lnTo>
                      <a:pt x="1548608" y="127461"/>
                    </a:lnTo>
                    <a:lnTo>
                      <a:pt x="1538503" y="122909"/>
                    </a:lnTo>
                    <a:close/>
                  </a:path>
                  <a:path w="1965960" h="1374775">
                    <a:moveTo>
                      <a:pt x="1533404" y="118356"/>
                    </a:moveTo>
                    <a:lnTo>
                      <a:pt x="430363" y="118356"/>
                    </a:lnTo>
                    <a:lnTo>
                      <a:pt x="428634" y="122909"/>
                    </a:lnTo>
                    <a:lnTo>
                      <a:pt x="1536773" y="122909"/>
                    </a:lnTo>
                    <a:lnTo>
                      <a:pt x="1533404" y="118356"/>
                    </a:lnTo>
                    <a:close/>
                  </a:path>
                  <a:path w="1965960" h="1374775">
                    <a:moveTo>
                      <a:pt x="1524846" y="113804"/>
                    </a:moveTo>
                    <a:lnTo>
                      <a:pt x="440606" y="113804"/>
                    </a:lnTo>
                    <a:lnTo>
                      <a:pt x="438876" y="118356"/>
                    </a:lnTo>
                    <a:lnTo>
                      <a:pt x="1526530" y="118356"/>
                    </a:lnTo>
                    <a:lnTo>
                      <a:pt x="1524846" y="113804"/>
                    </a:lnTo>
                    <a:close/>
                  </a:path>
                  <a:path w="1965960" h="1374775">
                    <a:moveTo>
                      <a:pt x="1505818" y="104700"/>
                    </a:moveTo>
                    <a:lnTo>
                      <a:pt x="461364" y="104700"/>
                    </a:lnTo>
                    <a:lnTo>
                      <a:pt x="456174" y="109252"/>
                    </a:lnTo>
                    <a:lnTo>
                      <a:pt x="454399" y="109252"/>
                    </a:lnTo>
                    <a:lnTo>
                      <a:pt x="445750" y="113804"/>
                    </a:lnTo>
                    <a:lnTo>
                      <a:pt x="1519656" y="113804"/>
                    </a:lnTo>
                    <a:lnTo>
                      <a:pt x="1505818" y="104700"/>
                    </a:lnTo>
                    <a:close/>
                  </a:path>
                  <a:path w="1965960" h="1374775">
                    <a:moveTo>
                      <a:pt x="1495302" y="100148"/>
                    </a:moveTo>
                    <a:lnTo>
                      <a:pt x="470149" y="100148"/>
                    </a:lnTo>
                    <a:lnTo>
                      <a:pt x="468374" y="104700"/>
                    </a:lnTo>
                    <a:lnTo>
                      <a:pt x="1497078" y="104700"/>
                    </a:lnTo>
                    <a:lnTo>
                      <a:pt x="1495302" y="100148"/>
                    </a:lnTo>
                    <a:close/>
                  </a:path>
                  <a:path w="1965960" h="1374775">
                    <a:moveTo>
                      <a:pt x="1482966" y="95595"/>
                    </a:moveTo>
                    <a:lnTo>
                      <a:pt x="482486" y="95595"/>
                    </a:lnTo>
                    <a:lnTo>
                      <a:pt x="475385" y="100148"/>
                    </a:lnTo>
                    <a:lnTo>
                      <a:pt x="1486517" y="100148"/>
                    </a:lnTo>
                    <a:lnTo>
                      <a:pt x="1482966" y="95595"/>
                    </a:lnTo>
                    <a:close/>
                  </a:path>
                  <a:path w="1965960" h="1374775">
                    <a:moveTo>
                      <a:pt x="1472314" y="91043"/>
                    </a:moveTo>
                    <a:lnTo>
                      <a:pt x="494913" y="91043"/>
                    </a:lnTo>
                    <a:lnTo>
                      <a:pt x="489587" y="95595"/>
                    </a:lnTo>
                    <a:lnTo>
                      <a:pt x="1475864" y="95595"/>
                    </a:lnTo>
                    <a:lnTo>
                      <a:pt x="1472314" y="91043"/>
                    </a:lnTo>
                    <a:close/>
                  </a:path>
                  <a:path w="1965960" h="1374775">
                    <a:moveTo>
                      <a:pt x="1461525" y="86491"/>
                    </a:moveTo>
                    <a:lnTo>
                      <a:pt x="503881" y="86491"/>
                    </a:lnTo>
                    <a:lnTo>
                      <a:pt x="502106" y="91043"/>
                    </a:lnTo>
                    <a:lnTo>
                      <a:pt x="1463346" y="91043"/>
                    </a:lnTo>
                    <a:lnTo>
                      <a:pt x="1461525" y="86491"/>
                    </a:lnTo>
                    <a:close/>
                  </a:path>
                  <a:path w="1965960" h="1374775">
                    <a:moveTo>
                      <a:pt x="1437990" y="77387"/>
                    </a:moveTo>
                    <a:lnTo>
                      <a:pt x="527416" y="77387"/>
                    </a:lnTo>
                    <a:lnTo>
                      <a:pt x="525595" y="81939"/>
                    </a:lnTo>
                    <a:lnTo>
                      <a:pt x="518357" y="81939"/>
                    </a:lnTo>
                    <a:lnTo>
                      <a:pt x="511074" y="86491"/>
                    </a:lnTo>
                    <a:lnTo>
                      <a:pt x="1450736" y="86491"/>
                    </a:lnTo>
                    <a:lnTo>
                      <a:pt x="1439811" y="81939"/>
                    </a:lnTo>
                    <a:lnTo>
                      <a:pt x="1437990" y="77387"/>
                    </a:lnTo>
                    <a:close/>
                  </a:path>
                  <a:path w="1965960" h="1374775">
                    <a:moveTo>
                      <a:pt x="1425199" y="72835"/>
                    </a:moveTo>
                    <a:lnTo>
                      <a:pt x="540253" y="72835"/>
                    </a:lnTo>
                    <a:lnTo>
                      <a:pt x="538387" y="77387"/>
                    </a:lnTo>
                    <a:lnTo>
                      <a:pt x="1428840" y="77387"/>
                    </a:lnTo>
                    <a:lnTo>
                      <a:pt x="1425199" y="72835"/>
                    </a:lnTo>
                    <a:close/>
                  </a:path>
                  <a:path w="1965960" h="1374775">
                    <a:moveTo>
                      <a:pt x="1412270" y="68282"/>
                    </a:moveTo>
                    <a:lnTo>
                      <a:pt x="553136" y="68282"/>
                    </a:lnTo>
                    <a:lnTo>
                      <a:pt x="551315" y="72835"/>
                    </a:lnTo>
                    <a:lnTo>
                      <a:pt x="1414137" y="72835"/>
                    </a:lnTo>
                    <a:lnTo>
                      <a:pt x="1412270" y="68282"/>
                    </a:lnTo>
                    <a:close/>
                  </a:path>
                  <a:path w="1965960" h="1374775">
                    <a:moveTo>
                      <a:pt x="1397430" y="63730"/>
                    </a:moveTo>
                    <a:lnTo>
                      <a:pt x="568022" y="63730"/>
                    </a:lnTo>
                    <a:lnTo>
                      <a:pt x="564289" y="68282"/>
                    </a:lnTo>
                    <a:lnTo>
                      <a:pt x="1399297" y="68282"/>
                    </a:lnTo>
                    <a:lnTo>
                      <a:pt x="1397430" y="63730"/>
                    </a:lnTo>
                    <a:close/>
                  </a:path>
                  <a:path w="1965960" h="1374775">
                    <a:moveTo>
                      <a:pt x="1384320" y="59178"/>
                    </a:moveTo>
                    <a:lnTo>
                      <a:pt x="581132" y="59178"/>
                    </a:lnTo>
                    <a:lnTo>
                      <a:pt x="579265" y="63730"/>
                    </a:lnTo>
                    <a:lnTo>
                      <a:pt x="1386186" y="63730"/>
                    </a:lnTo>
                    <a:lnTo>
                      <a:pt x="1384320" y="59178"/>
                    </a:lnTo>
                    <a:close/>
                  </a:path>
                  <a:path w="1965960" h="1374775">
                    <a:moveTo>
                      <a:pt x="1369207" y="54626"/>
                    </a:moveTo>
                    <a:lnTo>
                      <a:pt x="596200" y="54626"/>
                    </a:lnTo>
                    <a:lnTo>
                      <a:pt x="594333" y="59178"/>
                    </a:lnTo>
                    <a:lnTo>
                      <a:pt x="1371119" y="59178"/>
                    </a:lnTo>
                    <a:lnTo>
                      <a:pt x="1369207" y="54626"/>
                    </a:lnTo>
                    <a:close/>
                  </a:path>
                  <a:path w="1965960" h="1374775">
                    <a:moveTo>
                      <a:pt x="1354048" y="50074"/>
                    </a:moveTo>
                    <a:lnTo>
                      <a:pt x="613316" y="50074"/>
                    </a:lnTo>
                    <a:lnTo>
                      <a:pt x="607580" y="54626"/>
                    </a:lnTo>
                    <a:lnTo>
                      <a:pt x="1355914" y="54626"/>
                    </a:lnTo>
                    <a:lnTo>
                      <a:pt x="1354048" y="50074"/>
                    </a:lnTo>
                    <a:close/>
                  </a:path>
                  <a:path w="1965960" h="1374775">
                    <a:moveTo>
                      <a:pt x="1336795" y="45521"/>
                    </a:moveTo>
                    <a:lnTo>
                      <a:pt x="628611" y="45521"/>
                    </a:lnTo>
                    <a:lnTo>
                      <a:pt x="626699" y="50074"/>
                    </a:lnTo>
                    <a:lnTo>
                      <a:pt x="1338753" y="50074"/>
                    </a:lnTo>
                    <a:lnTo>
                      <a:pt x="1336795" y="45521"/>
                    </a:lnTo>
                    <a:close/>
                  </a:path>
                  <a:path w="1965960" h="1374775">
                    <a:moveTo>
                      <a:pt x="1319451" y="40969"/>
                    </a:moveTo>
                    <a:lnTo>
                      <a:pt x="645955" y="40969"/>
                    </a:lnTo>
                    <a:lnTo>
                      <a:pt x="644043" y="45521"/>
                    </a:lnTo>
                    <a:lnTo>
                      <a:pt x="1321409" y="45521"/>
                    </a:lnTo>
                    <a:lnTo>
                      <a:pt x="1319451" y="40969"/>
                    </a:lnTo>
                    <a:close/>
                  </a:path>
                  <a:path w="1965960" h="1374775">
                    <a:moveTo>
                      <a:pt x="1298101" y="36417"/>
                    </a:moveTo>
                    <a:lnTo>
                      <a:pt x="665393" y="36417"/>
                    </a:lnTo>
                    <a:lnTo>
                      <a:pt x="661478" y="40969"/>
                    </a:lnTo>
                    <a:lnTo>
                      <a:pt x="1303974" y="40969"/>
                    </a:lnTo>
                    <a:lnTo>
                      <a:pt x="1298101" y="36417"/>
                    </a:lnTo>
                    <a:close/>
                  </a:path>
                  <a:path w="1965960" h="1374775">
                    <a:moveTo>
                      <a:pt x="1282487" y="31865"/>
                    </a:moveTo>
                    <a:lnTo>
                      <a:pt x="682964" y="31865"/>
                    </a:lnTo>
                    <a:lnTo>
                      <a:pt x="677092" y="36417"/>
                    </a:lnTo>
                    <a:lnTo>
                      <a:pt x="1288360" y="36417"/>
                    </a:lnTo>
                    <a:lnTo>
                      <a:pt x="1282487" y="31865"/>
                    </a:lnTo>
                    <a:close/>
                  </a:path>
                  <a:path w="1965960" h="1374775">
                    <a:moveTo>
                      <a:pt x="1260819" y="27313"/>
                    </a:moveTo>
                    <a:lnTo>
                      <a:pt x="704587" y="27313"/>
                    </a:lnTo>
                    <a:lnTo>
                      <a:pt x="700672" y="31865"/>
                    </a:lnTo>
                    <a:lnTo>
                      <a:pt x="1262822" y="31865"/>
                    </a:lnTo>
                    <a:lnTo>
                      <a:pt x="1260819" y="27313"/>
                    </a:lnTo>
                    <a:close/>
                  </a:path>
                  <a:path w="1965960" h="1374775">
                    <a:moveTo>
                      <a:pt x="1239060" y="22760"/>
                    </a:moveTo>
                    <a:lnTo>
                      <a:pt x="726392" y="22760"/>
                    </a:lnTo>
                    <a:lnTo>
                      <a:pt x="724389" y="27313"/>
                    </a:lnTo>
                    <a:lnTo>
                      <a:pt x="1241017" y="27313"/>
                    </a:lnTo>
                    <a:lnTo>
                      <a:pt x="1239060" y="22760"/>
                    </a:lnTo>
                    <a:close/>
                  </a:path>
                  <a:path w="1965960" h="1374775">
                    <a:moveTo>
                      <a:pt x="1213112" y="18208"/>
                    </a:moveTo>
                    <a:lnTo>
                      <a:pt x="752294" y="18208"/>
                    </a:lnTo>
                    <a:lnTo>
                      <a:pt x="750291" y="22760"/>
                    </a:lnTo>
                    <a:lnTo>
                      <a:pt x="1215115" y="22760"/>
                    </a:lnTo>
                    <a:lnTo>
                      <a:pt x="1213112" y="18208"/>
                    </a:lnTo>
                    <a:close/>
                  </a:path>
                  <a:path w="1965960" h="1374775">
                    <a:moveTo>
                      <a:pt x="1183022" y="13656"/>
                    </a:moveTo>
                    <a:lnTo>
                      <a:pt x="782430" y="13656"/>
                    </a:lnTo>
                    <a:lnTo>
                      <a:pt x="780427" y="18208"/>
                    </a:lnTo>
                    <a:lnTo>
                      <a:pt x="1185025" y="18208"/>
                    </a:lnTo>
                    <a:lnTo>
                      <a:pt x="1183022" y="13656"/>
                    </a:lnTo>
                    <a:close/>
                  </a:path>
                  <a:path w="1965960" h="1374775">
                    <a:moveTo>
                      <a:pt x="1150656" y="9104"/>
                    </a:moveTo>
                    <a:lnTo>
                      <a:pt x="814796" y="9104"/>
                    </a:lnTo>
                    <a:lnTo>
                      <a:pt x="812747" y="13656"/>
                    </a:lnTo>
                    <a:lnTo>
                      <a:pt x="1152705" y="13656"/>
                    </a:lnTo>
                    <a:lnTo>
                      <a:pt x="1150656" y="9104"/>
                    </a:lnTo>
                    <a:close/>
                  </a:path>
                  <a:path w="1965960" h="1374775">
                    <a:moveTo>
                      <a:pt x="1103860" y="4552"/>
                    </a:moveTo>
                    <a:lnTo>
                      <a:pt x="861592" y="4552"/>
                    </a:lnTo>
                    <a:lnTo>
                      <a:pt x="855447" y="9104"/>
                    </a:lnTo>
                    <a:lnTo>
                      <a:pt x="1109960" y="9104"/>
                    </a:lnTo>
                    <a:lnTo>
                      <a:pt x="1103860" y="4552"/>
                    </a:lnTo>
                    <a:close/>
                  </a:path>
                  <a:path w="1965960" h="1374775">
                    <a:moveTo>
                      <a:pt x="1036214" y="0"/>
                    </a:moveTo>
                    <a:lnTo>
                      <a:pt x="929238" y="0"/>
                    </a:lnTo>
                    <a:lnTo>
                      <a:pt x="927189" y="4552"/>
                    </a:lnTo>
                    <a:lnTo>
                      <a:pt x="1038263" y="4552"/>
                    </a:lnTo>
                    <a:lnTo>
                      <a:pt x="1036214" y="0"/>
                    </a:lnTo>
                    <a:close/>
                  </a:path>
                </a:pathLst>
              </a:custGeom>
              <a:solidFill>
                <a:schemeClr val="accent4">
                  <a:alpha val="49798"/>
                </a:schemeClr>
              </a:solidFill>
            </p:spPr>
            <p:txBody>
              <a:bodyPr wrap="square" lIns="0" tIns="0" rIns="0" bIns="0" rtlCol="0"/>
              <a:lstStyle/>
              <a:p>
                <a:endParaRPr sz="1400"/>
              </a:p>
            </p:txBody>
          </p:sp>
          <p:sp>
            <p:nvSpPr>
              <p:cNvPr id="23" name="object 23"/>
              <p:cNvSpPr txBox="1"/>
              <p:nvPr/>
            </p:nvSpPr>
            <p:spPr>
              <a:xfrm>
                <a:off x="1790700" y="1557268"/>
                <a:ext cx="1472932" cy="227626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400" spc="-5" dirty="0">
                    <a:latin typeface="+mn-lt"/>
                    <a:cs typeface="Times New Roman"/>
                  </a:rPr>
                  <a:t>Hundeliebhaber*in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24" name="object 24"/>
              <p:cNvSpPr txBox="1"/>
              <p:nvPr/>
            </p:nvSpPr>
            <p:spPr>
              <a:xfrm>
                <a:off x="3431177" y="1557268"/>
                <a:ext cx="1503814" cy="227626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400" spc="-5" dirty="0">
                    <a:latin typeface="+mn-lt"/>
                    <a:cs typeface="Times New Roman"/>
                  </a:rPr>
                  <a:t>Katzenliebhaber*in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25" name="object 20"/>
              <p:cNvSpPr txBox="1"/>
              <p:nvPr/>
            </p:nvSpPr>
            <p:spPr>
              <a:xfrm>
                <a:off x="2092754" y="2454756"/>
                <a:ext cx="228472" cy="229550"/>
              </a:xfrm>
              <a:prstGeom prst="rect">
                <a:avLst/>
              </a:prstGeom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10"/>
                  </a:spcBef>
                </a:pPr>
                <a:r>
                  <a:rPr sz="1400" spc="0" dirty="0">
                    <a:latin typeface="+mn-lt"/>
                    <a:cs typeface="Times New Roman"/>
                  </a:rPr>
                  <a:t>20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26" name="object 21"/>
              <p:cNvSpPr txBox="1"/>
              <p:nvPr/>
            </p:nvSpPr>
            <p:spPr>
              <a:xfrm>
                <a:off x="4058714" y="2454756"/>
                <a:ext cx="295572" cy="229550"/>
              </a:xfrm>
              <a:prstGeom prst="rect">
                <a:avLst/>
              </a:prstGeom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10"/>
                  </a:spcBef>
                </a:pPr>
                <a:r>
                  <a:rPr sz="1400" spc="0" dirty="0">
                    <a:latin typeface="+mn-lt"/>
                    <a:cs typeface="Times New Roman"/>
                  </a:rPr>
                  <a:t>15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27" name="object 22"/>
              <p:cNvSpPr txBox="1"/>
              <p:nvPr/>
            </p:nvSpPr>
            <p:spPr>
              <a:xfrm>
                <a:off x="3169255" y="2454756"/>
                <a:ext cx="261922" cy="229550"/>
              </a:xfrm>
              <a:prstGeom prst="rect">
                <a:avLst/>
              </a:prstGeom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10"/>
                  </a:spcBef>
                </a:pPr>
                <a:r>
                  <a:rPr sz="1400" spc="0" dirty="0">
                    <a:latin typeface="+mn-lt"/>
                    <a:cs typeface="Times New Roman"/>
                  </a:rPr>
                  <a:t>10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845688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2930701"/>
            <a:ext cx="8305800" cy="32301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7940" y="3582161"/>
            <a:ext cx="8305800" cy="32301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7940" y="4315364"/>
            <a:ext cx="8305800" cy="32301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17940" y="4966824"/>
            <a:ext cx="8305800" cy="32301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7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Inhaltsplatzhalter 4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lvl="2"/>
                <a:r>
                  <a:rPr lang="de-DE" dirty="0"/>
                  <a:t>gleich, (=): ==</a:t>
                </a:r>
              </a:p>
              <a:p>
                <a:pPr lvl="2"/>
                <a:r>
                  <a:rPr lang="de-DE" dirty="0"/>
                  <a:t>ungleich (/=): !=</a:t>
                </a:r>
              </a:p>
              <a:p>
                <a:pPr lvl="2"/>
                <a:r>
                  <a:rPr lang="de-DE" dirty="0"/>
                  <a:t>kleiner, kleiner gleich (&lt;,</a:t>
                </a:r>
                <a14:m>
                  <m:oMath xmlns:m="http://schemas.openxmlformats.org/officeDocument/2006/math">
                    <m:r>
                      <a:rPr lang="de-DE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</m:oMath>
                </a14:m>
                <a:r>
                  <a:rPr lang="de-DE" dirty="0"/>
                  <a:t>): &lt;, &lt;=</a:t>
                </a:r>
              </a:p>
              <a:p>
                <a:pPr lvl="2"/>
                <a:r>
                  <a:rPr lang="de-DE" dirty="0"/>
                  <a:t>größer, größer gleich (&gt;,</a:t>
                </a:r>
                <a14:m>
                  <m:oMath xmlns:m="http://schemas.openxmlformats.org/officeDocument/2006/math">
                    <m:r>
                      <a:rPr lang="de-DE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≥</m:t>
                    </m:r>
                  </m:oMath>
                </a14:m>
                <a:r>
                  <a:rPr lang="de-DE" dirty="0"/>
                  <a:t>): &gt;, &gt;=</a:t>
                </a:r>
              </a:p>
              <a:p>
                <a:pPr lvl="2"/>
                <a:endParaRPr lang="de-DE" dirty="0"/>
              </a:p>
              <a:p>
                <a:pPr marL="0" lvl="2" indent="0">
                  <a:buNone/>
                </a:pPr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4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4">
                        <a:lumMod val="50000"/>
                      </a:schemeClr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==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5</a:t>
                </a:r>
              </a:p>
              <a:p>
                <a:pPr lvl="1"/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## [1] FALSE</a:t>
                </a:r>
              </a:p>
              <a:p>
                <a:pPr lvl="1"/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4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4">
                        <a:lumMod val="50000"/>
                      </a:schemeClr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!=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5</a:t>
                </a:r>
              </a:p>
              <a:p>
                <a:pPr lvl="1"/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## [1] TRUE</a:t>
                </a:r>
              </a:p>
              <a:p>
                <a:pPr lvl="1"/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4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4">
                        <a:lumMod val="50000"/>
                      </a:schemeClr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&lt;=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5</a:t>
                </a:r>
              </a:p>
              <a:p>
                <a:pPr lvl="1"/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## [1] TRUE</a:t>
                </a:r>
              </a:p>
              <a:p>
                <a:pPr lvl="1"/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4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4">
                        <a:lumMod val="50000"/>
                      </a:schemeClr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&gt;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5</a:t>
                </a:r>
              </a:p>
              <a:p>
                <a:pPr lvl="1"/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## [1] FALSE</a:t>
                </a:r>
              </a:p>
            </p:txBody>
          </p:sp>
        </mc:Choice>
        <mc:Fallback xmlns="">
          <p:sp>
            <p:nvSpPr>
              <p:cNvPr id="5" name="Inhaltsplatzhalter 4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l="-587" t="-56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ergleichen</a:t>
            </a:r>
          </a:p>
        </p:txBody>
      </p:sp>
    </p:spTree>
    <p:extLst>
      <p:ext uri="{BB962C8B-B14F-4D97-AF65-F5344CB8AC3E}">
        <p14:creationId xmlns:p14="http://schemas.microsoft.com/office/powerpoint/2010/main" val="234849137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968375"/>
            <a:ext cx="8305800" cy="73850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8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sz="1100" dirty="0"/>
              <a:t> </a:t>
            </a:r>
            <a:r>
              <a:rPr lang="de-DE" sz="11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sz="11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filter</a:t>
            </a:r>
            <a:r>
              <a:rPr lang="de-DE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(sex</a:t>
            </a:r>
            <a:r>
              <a:rPr lang="de-DE" sz="11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=</a:t>
            </a:r>
            <a:r>
              <a:rPr lang="de-DE" sz="11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Female"</a:t>
            </a:r>
            <a:r>
              <a:rPr lang="de-DE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1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</a:t>
            </a:r>
            <a:r>
              <a:rPr lang="de-DE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sz="11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de-DE" sz="1100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</a:t>
            </a:r>
            <a:r>
              <a:rPr lang="de-DE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sz="11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&gt;%</a:t>
            </a:r>
          </a:p>
          <a:p>
            <a:pPr lvl="1"/>
            <a:r>
              <a:rPr lang="de-DE" sz="11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sz="11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pect</a:t>
            </a:r>
            <a:r>
              <a:rPr lang="de-DE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tegorical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variables: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evels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n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ssing</a:t>
            </a:r>
            <a:endParaRPr lang="de-DE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1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x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actor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2 	27 	0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2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moker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actor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2 	27 	0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3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y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actor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4 	27 	0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4 	time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actor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2 	27 	0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istribution</a:t>
            </a:r>
            <a:endParaRPr lang="de-DE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1 Female (100%), Male (0%)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2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o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(63%), Yes (37%)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3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at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(48.1%), Sun (25.9%),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hur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(22.2%) ...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4 Dinner (77.8%), Lunch (22.2%)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quantitative variables: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 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	    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    min    Q1  median        Q3  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ax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	     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d</a:t>
            </a:r>
            <a:endParaRPr lang="de-DE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1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umeric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20.27 22.585   26.41   29.995   44.3   27.726667 	6.594811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2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   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umeric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  1.50 2.900    3.61     5.000   6.5     3.800370 	1.191278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3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ize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	    integer   2.00 2.000    3.00     4.000   6.0     3.259259 	1.227649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	n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ssing</a:t>
            </a:r>
            <a:endParaRPr lang="de-DE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1 	27 	0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2 	27 	0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3 	27 	0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eobachtungen auswählen: filter()	</a:t>
            </a:r>
          </a:p>
          <a:p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675358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9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ffene Übung: Datensatz auswählen	</a:t>
            </a:r>
          </a:p>
          <a:p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Erzeugen Sie einen Datensatz, der nur die Variable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</a:t>
            </a:r>
            <a:r>
              <a:rPr lang="de-DE" dirty="0"/>
              <a:t> enthält, und zwar für die Tische, an denen zum Dinner geraucht wurde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08029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04FA571E-EE25-7D41-90BE-DAF6CC5CED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>
              <a:spcBef>
                <a:spcPts val="600"/>
              </a:spcBef>
            </a:pPr>
            <a:r>
              <a:rPr lang="de-DE" b="0" dirty="0">
                <a:solidFill>
                  <a:schemeClr val="tx1"/>
                </a:solidFill>
              </a:rPr>
              <a:t>Materialien erhältlich unter:</a:t>
            </a:r>
          </a:p>
          <a:p>
            <a:pPr>
              <a:spcBef>
                <a:spcPts val="600"/>
              </a:spcBef>
            </a:pPr>
            <a:r>
              <a:rPr lang="de-DE" b="0" dirty="0">
                <a:hlinkClick r:id="rId3"/>
              </a:rPr>
              <a:t>https://github.com/ThiesDS/R-Training</a:t>
            </a:r>
            <a:endParaRPr lang="de-DE" b="0" dirty="0"/>
          </a:p>
          <a:p>
            <a:pPr>
              <a:spcBef>
                <a:spcPts val="600"/>
              </a:spcBef>
            </a:pPr>
            <a:r>
              <a:rPr lang="de-DE" sz="1600" b="0" dirty="0">
                <a:solidFill>
                  <a:schemeClr val="tx1"/>
                </a:solidFill>
              </a:rPr>
              <a:t>(Download als ZIP-Datei über den grünen Butten „</a:t>
            </a:r>
            <a:r>
              <a:rPr lang="de-DE" sz="1600" b="0" dirty="0" err="1">
                <a:solidFill>
                  <a:schemeClr val="tx1"/>
                </a:solidFill>
              </a:rPr>
              <a:t>Clone</a:t>
            </a:r>
            <a:r>
              <a:rPr lang="de-DE" sz="1600" b="0" dirty="0">
                <a:solidFill>
                  <a:schemeClr val="tx1"/>
                </a:solidFill>
              </a:rPr>
              <a:t> </a:t>
            </a:r>
            <a:r>
              <a:rPr lang="de-DE" sz="1600" b="0" dirty="0" err="1">
                <a:solidFill>
                  <a:schemeClr val="tx1"/>
                </a:solidFill>
              </a:rPr>
              <a:t>or</a:t>
            </a:r>
            <a:r>
              <a:rPr lang="de-DE" sz="1600" b="0" dirty="0">
                <a:solidFill>
                  <a:schemeClr val="tx1"/>
                </a:solidFill>
              </a:rPr>
              <a:t> Download“ -&gt; „</a:t>
            </a:r>
            <a:r>
              <a:rPr lang="de-DE" sz="1600" b="0" dirty="0" err="1">
                <a:solidFill>
                  <a:schemeClr val="tx1"/>
                </a:solidFill>
              </a:rPr>
              <a:t>Downlaod</a:t>
            </a:r>
            <a:r>
              <a:rPr lang="de-DE" sz="1600" b="0" dirty="0">
                <a:solidFill>
                  <a:schemeClr val="tx1"/>
                </a:solidFill>
              </a:rPr>
              <a:t> </a:t>
            </a:r>
            <a:r>
              <a:rPr lang="de-DE" sz="1600" b="0">
                <a:solidFill>
                  <a:schemeClr val="tx1"/>
                </a:solidFill>
              </a:rPr>
              <a:t>Zip“)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graphicFrame>
        <p:nvGraphicFramePr>
          <p:cNvPr id="8" name="Inhaltsplatzhalt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21897163"/>
              </p:ext>
            </p:extLst>
          </p:nvPr>
        </p:nvGraphicFramePr>
        <p:xfrm>
          <a:off x="149340" y="1594301"/>
          <a:ext cx="8067402" cy="17924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68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305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/>
                        <a:t>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b="0" dirty="0"/>
                        <a:t>Wissensgenerierender Prozess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Kernprozess: Datenanalyse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Hilfreiche </a:t>
                      </a:r>
                      <a:r>
                        <a:rPr lang="de-DE" sz="1400" dirty="0" err="1"/>
                        <a:t>Cheatsheets</a:t>
                      </a:r>
                      <a:r>
                        <a:rPr lang="de-DE" sz="1400" dirty="0"/>
                        <a:t> und Orientierungstabellen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9796982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4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Beispiel Datenanalyse I: Datenbereinigung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5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Beispiel Datenanalyse II: Hypothesentest &amp; Modellierung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63425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ösung Offene Übung: Datensatz auswählen	</a:t>
            </a:r>
          </a:p>
          <a:p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Erzeugen Sie einen Datensatz, der nur die Variable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</a:t>
            </a:r>
            <a:r>
              <a:rPr lang="de-DE" dirty="0"/>
              <a:t> enthält, und zwar für die Tische, an denen zum Dinner geraucht wurde.</a:t>
            </a:r>
          </a:p>
          <a:p>
            <a:endParaRPr lang="de-DE" dirty="0"/>
          </a:p>
          <a:p>
            <a:pPr lvl="1" algn="l"/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smokingdinne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&lt;- tips %&gt;% filter(time=="Dinner" &amp;  smoker=="Yes") %&gt;% select(tip)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002185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2729448"/>
            <a:ext cx="8305800" cy="1165219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1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</a:t>
            </a:r>
          </a:p>
          <a:p>
            <a:pPr lvl="1"/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quantitative variables:</a:t>
            </a:r>
          </a:p>
          <a:p>
            <a:pPr lvl="1">
              <a:tabLst>
                <a:tab pos="2151063" algn="l"/>
                <a:tab pos="2690813" algn="l"/>
                <a:tab pos="3500438" algn="l"/>
                <a:tab pos="3944938" algn="l"/>
                <a:tab pos="4302125" algn="l"/>
                <a:tab pos="5199063" algn="l"/>
                <a:tab pos="5921375" algn="l"/>
                <a:tab pos="6905625" algn="l"/>
              </a:tabLst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  name  class   	min 	Q1  	median	Q3    	max 	mean     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d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</a:p>
          <a:p>
            <a:pPr lvl="1">
              <a:tabLst>
                <a:tab pos="1166813" algn="l"/>
                <a:tab pos="2151063" algn="l"/>
                <a:tab pos="2508250" algn="l"/>
                <a:tab pos="2690813" algn="l"/>
                <a:tab pos="3500438" algn="l"/>
                <a:tab pos="4302125" algn="l"/>
                <a:tab pos="5199063" algn="l"/>
                <a:tab pos="5921375" algn="l"/>
                <a:tab pos="6992938" algn="l"/>
              </a:tabLst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1 paid 	numeric	4.07	15.475	20.6  	27.7225	60.81	22.78422	9.890116</a:t>
            </a:r>
          </a:p>
          <a:p>
            <a:pPr lvl="1">
              <a:tabLst>
                <a:tab pos="539750" algn="l"/>
                <a:tab pos="984250" algn="l"/>
              </a:tabLst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 	n	missing</a:t>
            </a:r>
          </a:p>
          <a:p>
            <a:pPr lvl="1">
              <a:tabLst>
                <a:tab pos="539750" algn="l"/>
                <a:tab pos="984250" algn="l"/>
              </a:tabLst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1	244	0</a:t>
            </a:r>
          </a:p>
          <a:p>
            <a:pPr lvl="1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utat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id</a:t>
            </a:r>
            <a:r>
              <a:rPr lang="de-DE" sz="1400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sz="1400" dirty="0" err="1">
                <a:solidFill>
                  <a:schemeClr val="accent4">
                    <a:lumMod val="50000"/>
                  </a:schemeClr>
                </a:solidFill>
              </a:rPr>
              <a:t>+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  <a:endParaRPr lang="de-DE" sz="1400" dirty="0"/>
          </a:p>
          <a:p>
            <a:pPr lvl="1"/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elect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aid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pect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1">
              <a:tabLst>
                <a:tab pos="539750" algn="l"/>
                <a:tab pos="984250" algn="l"/>
              </a:tabLst>
            </a:pP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ariablen verändern/erzeugen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mutate()</a:t>
            </a:r>
            <a:r>
              <a:rPr lang="de-DE" dirty="0"/>
              <a:t>	</a:t>
            </a:r>
          </a:p>
          <a:p>
            <a:endParaRPr lang="de-DE" dirty="0">
              <a:solidFill>
                <a:schemeClr val="accent4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04766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Übung: Relative Trinkgeldhöhe	</a:t>
            </a:r>
          </a:p>
          <a:p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Inhaltsplatzhalter 7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lvl="1"/>
                <a:r>
                  <a:rPr lang="de-DE" dirty="0"/>
                  <a:t>Wie viele Beobachtungen haben eine relative Trinkgeldhöhe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𝑖𝑝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𝑜𝑡𝑎𝑙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𝑖𝑙𝑙</m:t>
                        </m:r>
                      </m:den>
                    </m:f>
                  </m:oMath>
                </a14:m>
                <a:r>
                  <a:rPr lang="de-DE" dirty="0"/>
                  <a:t> über 10%?</a:t>
                </a:r>
              </a:p>
              <a:p>
                <a:pPr marL="342900" lvl="2" indent="-342900">
                  <a:buFont typeface="+mj-lt"/>
                  <a:buAutoNum type="alphaLcPeriod"/>
                </a:pPr>
                <a:r>
                  <a:rPr lang="de-DE" dirty="0"/>
                  <a:t>244</a:t>
                </a:r>
              </a:p>
              <a:p>
                <a:pPr marL="342900" lvl="2" indent="-342900">
                  <a:buFont typeface="+mj-lt"/>
                  <a:buAutoNum type="alphaLcPeriod"/>
                </a:pPr>
                <a:r>
                  <a:rPr lang="de-DE" dirty="0"/>
                  <a:t>217</a:t>
                </a:r>
              </a:p>
              <a:p>
                <a:pPr marL="342900" lvl="2" indent="-342900">
                  <a:buFont typeface="+mj-lt"/>
                  <a:buAutoNum type="alphaLcPeriod"/>
                </a:pPr>
                <a:r>
                  <a:rPr lang="de-DE" dirty="0"/>
                  <a:t>27</a:t>
                </a:r>
              </a:p>
            </p:txBody>
          </p:sp>
        </mc:Choice>
        <mc:Fallback xmlns="">
          <p:sp>
            <p:nvSpPr>
              <p:cNvPr id="8" name="Inhaltsplatzhalter 7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l="-587" r="-14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1703792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ösung Übung: Relative Trinkgeldhöhe	</a:t>
            </a:r>
          </a:p>
          <a:p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Inhaltsplatzhalter 7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lvl="1"/>
                <a:r>
                  <a:rPr lang="de-DE" dirty="0"/>
                  <a:t>Wie viele Beobachtungen haben eine relative Trinkgeldhöhe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𝑖𝑝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𝑜𝑡𝑎𝑙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𝑖𝑙𝑙</m:t>
                        </m:r>
                      </m:den>
                    </m:f>
                  </m:oMath>
                </a14:m>
                <a:r>
                  <a:rPr lang="de-DE" dirty="0"/>
                  <a:t> über 10%?</a:t>
                </a:r>
              </a:p>
              <a:p>
                <a:pPr marL="342900" lvl="2" indent="-342900">
                  <a:buFont typeface="+mj-lt"/>
                  <a:buAutoNum type="alphaLcPeriod"/>
                </a:pPr>
                <a:r>
                  <a:rPr lang="de-DE" dirty="0"/>
                  <a:t>244</a:t>
                </a:r>
              </a:p>
              <a:p>
                <a:pPr marL="342900" lvl="2" indent="-342900">
                  <a:buFont typeface="+mj-lt"/>
                  <a:buAutoNum type="alphaLcPeriod"/>
                </a:pPr>
                <a:r>
                  <a:rPr lang="de-DE" dirty="0"/>
                  <a:t>217</a:t>
                </a:r>
              </a:p>
              <a:p>
                <a:pPr marL="342900" lvl="2" indent="-342900">
                  <a:buFont typeface="+mj-lt"/>
                  <a:buAutoNum type="alphaLcPeriod"/>
                </a:pPr>
                <a:r>
                  <a:rPr lang="de-DE" dirty="0"/>
                  <a:t>27</a:t>
                </a:r>
              </a:p>
              <a:p>
                <a:pPr marL="0" lvl="2" indent="0">
                  <a:buNone/>
                </a:pPr>
                <a:endParaRPr lang="de-DE" dirty="0"/>
              </a:p>
              <a:p>
                <a:pPr marL="0" lvl="2" indent="0">
                  <a:buNone/>
                </a:pPr>
                <a:r>
                  <a:rPr lang="en-US" b="1" dirty="0">
                    <a:solidFill>
                      <a:schemeClr val="accent1"/>
                    </a:solidFill>
                  </a:rPr>
                  <a:t>B</a:t>
                </a:r>
                <a:r>
                  <a:rPr lang="en-US" dirty="0"/>
                  <a:t>: </a:t>
                </a:r>
                <a:r>
                  <a:rPr lang="en-US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tips %&gt;% mutate(</a:t>
                </a:r>
                <a:r>
                  <a:rPr lang="en-US" dirty="0" err="1">
                    <a:latin typeface="Courier New" panose="02070309020205020404" pitchFamily="49" charset="0"/>
                    <a:cs typeface="Courier New" panose="02070309020205020404" pitchFamily="49" charset="0"/>
                  </a:rPr>
                  <a:t>rel</a:t>
                </a:r>
                <a:r>
                  <a:rPr lang="en-US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=tip/</a:t>
                </a:r>
                <a:r>
                  <a:rPr lang="en-US" dirty="0" err="1">
                    <a:latin typeface="Courier New" panose="02070309020205020404" pitchFamily="49" charset="0"/>
                    <a:cs typeface="Courier New" panose="02070309020205020404" pitchFamily="49" charset="0"/>
                  </a:rPr>
                  <a:t>total_bill</a:t>
                </a:r>
                <a:r>
                  <a:rPr lang="en-US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) %&gt;%</a:t>
                </a:r>
              </a:p>
              <a:p>
                <a:pPr marL="0" lvl="2" indent="0">
                  <a:buNone/>
                </a:pPr>
                <a:r>
                  <a:rPr lang="en-US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filter(</a:t>
                </a:r>
                <a:r>
                  <a:rPr lang="en-US" dirty="0" err="1">
                    <a:latin typeface="Courier New" panose="02070309020205020404" pitchFamily="49" charset="0"/>
                    <a:cs typeface="Courier New" panose="02070309020205020404" pitchFamily="49" charset="0"/>
                  </a:rPr>
                  <a:t>rel</a:t>
                </a:r>
                <a:r>
                  <a:rPr lang="en-US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&gt;0.1) %&gt;% </a:t>
                </a:r>
                <a:r>
                  <a:rPr lang="en-US" dirty="0" err="1">
                    <a:latin typeface="Courier New" panose="02070309020205020404" pitchFamily="49" charset="0"/>
                    <a:cs typeface="Courier New" panose="02070309020205020404" pitchFamily="49" charset="0"/>
                  </a:rPr>
                  <a:t>nrow</a:t>
                </a:r>
                <a:r>
                  <a:rPr lang="en-US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()</a:t>
                </a:r>
              </a:p>
              <a:p>
                <a:pPr marL="0" lvl="2" indent="0">
                  <a:buNone/>
                </a:pPr>
                <a:endParaRPr lang="de-DE" dirty="0"/>
              </a:p>
            </p:txBody>
          </p:sp>
        </mc:Choice>
        <mc:Fallback xmlns="">
          <p:sp>
            <p:nvSpPr>
              <p:cNvPr id="8" name="Inhaltsplatzhalter 7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l="-587" r="-14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2236141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34832" y="2028175"/>
            <a:ext cx="8305800" cy="2131876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## .</a:t>
            </a:r>
          </a:p>
          <a:p>
            <a:pPr lvl="1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## high  	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w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ddle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## 97		17	   130</a:t>
            </a:r>
          </a:p>
          <a:p>
            <a:pPr lvl="1"/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ll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_when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&lt;=</a:t>
            </a:r>
            <a:r>
              <a:rPr lang="de-DE" dirty="0"/>
              <a:t>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dirty="0"/>
              <a:t>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w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pPr lvl="1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			   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&lt;=</a:t>
            </a:r>
            <a:r>
              <a:rPr lang="de-DE" dirty="0"/>
              <a:t>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dirty="0"/>
              <a:t>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iddle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pPr lvl="1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			   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&gt;</a:t>
            </a:r>
            <a:r>
              <a:rPr lang="de-DE" dirty="0"/>
              <a:t>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dirty="0"/>
              <a:t>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igh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ll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1"/>
            <a:r>
              <a:rPr lang="de-DE" i="1" dirty="0"/>
              <a:t>Hinweis</a:t>
            </a:r>
            <a:r>
              <a:rPr lang="de-DE" dirty="0"/>
              <a:t>: Anstelle der letzten Abfrage (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dirty="0"/>
              <a:t> &gt; 20) hätte auch einfach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TRUE </a:t>
            </a:r>
            <a:r>
              <a:rPr lang="de-DE" dirty="0"/>
              <a:t>verwendet werden können.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ariablen verändern: </a:t>
            </a:r>
            <a:r>
              <a:rPr lang="de-DE" dirty="0" err="1"/>
              <a:t>case_when</a:t>
            </a:r>
            <a:r>
              <a:rPr lang="de-DE" dirty="0"/>
              <a:t>()	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253586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Übung: Variablen erzeugen	</a:t>
            </a:r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Welcher Befehl ist richtig, wenn die Personen die Raucher und Dinner sind eine Gruppe sein sollen, alle anderen eine andere?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sz="1400" dirty="0">
                <a:latin typeface="+mj-lt"/>
                <a:cs typeface="Courier New" panose="02070309020205020404" pitchFamily="49" charset="0"/>
              </a:rPr>
              <a:t>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  <a:br>
              <a:rPr lang="de-DE" sz="1400" dirty="0"/>
            </a:br>
            <a:r>
              <a:rPr lang="de-DE" sz="1400" dirty="0"/>
              <a:t>   </a:t>
            </a:r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arty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</a:t>
            </a:r>
            <a:r>
              <a:rPr lang="de-DE" sz="1400" dirty="0"/>
              <a:t> </a:t>
            </a:r>
            <a:r>
              <a:rPr lang="de-DE" sz="14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_when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moker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Yes"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&amp; 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inner"</a:t>
            </a:r>
            <a:r>
              <a:rPr lang="de-DE" sz="1400" dirty="0"/>
              <a:t>)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sz="1400" dirty="0"/>
              <a:t> 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Party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,  </a:t>
            </a:r>
            <a:r>
              <a:rPr lang="de-DE" sz="1400" dirty="0"/>
              <a:t>			        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sz="1400" dirty="0"/>
              <a:t>  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arty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sz="1400" dirty="0">
                <a:latin typeface="+mj-lt"/>
                <a:cs typeface="Courier New" panose="02070309020205020404" pitchFamily="49" charset="0"/>
              </a:rPr>
              <a:t>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  <a:br>
              <a:rPr lang="de-DE" sz="1400" dirty="0"/>
            </a:br>
            <a:r>
              <a:rPr lang="de-DE" sz="1400" dirty="0"/>
              <a:t>   </a:t>
            </a:r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arty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4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_when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moker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Yes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| 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inner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arty"</a:t>
            </a:r>
            <a:br>
              <a:rPr lang="de-DE" sz="1400" dirty="0"/>
            </a:br>
            <a:r>
              <a:rPr lang="de-DE" sz="1400" dirty="0"/>
              <a:t>			          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 ~</a:t>
            </a:r>
            <a:r>
              <a:rPr lang="de-DE" sz="1400" dirty="0"/>
              <a:t> 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Party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808077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ösung Übung: Variablen erzeugen	</a:t>
            </a:r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Welcher Befehl ist richtig, wenn die Personen die Raucher und Dinner sind eine Gruppe sein sollen, alle anderen eine andere?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sz="1400" dirty="0">
                <a:latin typeface="+mj-lt"/>
                <a:cs typeface="Courier New" panose="02070309020205020404" pitchFamily="49" charset="0"/>
              </a:rPr>
              <a:t>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  <a:br>
              <a:rPr lang="de-DE" sz="1400" dirty="0"/>
            </a:br>
            <a:r>
              <a:rPr lang="de-DE" sz="1400" dirty="0"/>
              <a:t>   </a:t>
            </a:r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arty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</a:t>
            </a:r>
            <a:r>
              <a:rPr lang="de-DE" sz="1400" dirty="0"/>
              <a:t> </a:t>
            </a:r>
            <a:r>
              <a:rPr lang="de-DE" sz="14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_when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moker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Yes"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&amp; 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inner"</a:t>
            </a:r>
            <a:r>
              <a:rPr lang="de-DE" sz="1400" dirty="0"/>
              <a:t>)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sz="1400" dirty="0"/>
              <a:t> 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Party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,  </a:t>
            </a:r>
            <a:r>
              <a:rPr lang="de-DE" sz="1400" dirty="0"/>
              <a:t>			        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sz="1400" dirty="0"/>
              <a:t>  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arty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sz="1400" dirty="0">
                <a:latin typeface="+mj-lt"/>
                <a:cs typeface="Courier New" panose="02070309020205020404" pitchFamily="49" charset="0"/>
              </a:rPr>
              <a:t>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  <a:br>
              <a:rPr lang="de-DE" sz="1400" dirty="0"/>
            </a:br>
            <a:r>
              <a:rPr lang="de-DE" sz="1400" dirty="0"/>
              <a:t>   </a:t>
            </a:r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arty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4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_when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moker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Yes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| 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inner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arty"</a:t>
            </a:r>
            <a:br>
              <a:rPr lang="de-DE" sz="1400" dirty="0"/>
            </a:br>
            <a:r>
              <a:rPr lang="de-DE" sz="1400" dirty="0"/>
              <a:t>			          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 ~</a:t>
            </a:r>
            <a:r>
              <a:rPr lang="de-DE" sz="1400" dirty="0"/>
              <a:t> 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Party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pPr marL="342900" lvl="2" indent="-342900">
              <a:buFont typeface="+mj-lt"/>
              <a:buAutoNum type="alphaLcPeriod"/>
            </a:pP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moker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="Yes" &amp; time=="Dinner" </a:t>
            </a:r>
            <a:r>
              <a:rPr lang="de-DE" sz="1600" dirty="0">
                <a:solidFill>
                  <a:srgbClr val="262626"/>
                </a:solidFill>
              </a:rPr>
              <a:t>sind Raucher und Dinner, also </a:t>
            </a:r>
            <a:r>
              <a:rPr lang="de-DE" sz="1600" b="1" dirty="0">
                <a:solidFill>
                  <a:srgbClr val="00998A"/>
                </a:solidFill>
              </a:rPr>
              <a:t>A</a:t>
            </a:r>
            <a:r>
              <a:rPr lang="de-DE" sz="1600" dirty="0">
                <a:solidFill>
                  <a:srgbClr val="262626"/>
                </a:solidFill>
              </a:rPr>
              <a:t>.</a:t>
            </a:r>
          </a:p>
          <a:p>
            <a:pPr marL="0" lvl="2" indent="0">
              <a:buNone/>
            </a:pP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4278807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968375"/>
            <a:ext cx="8305800" cy="75374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7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is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mean_bill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DE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,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=</a:t>
            </a:r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</a:p>
          <a:p>
            <a:pPr lvl="1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##	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mean_bill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	  n</a:t>
            </a:r>
          </a:p>
          <a:p>
            <a:pPr lvl="1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## 1	19.78594 	244</a:t>
            </a:r>
          </a:p>
          <a:p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Daten  zusammenfassen</a:t>
            </a:r>
            <a:r>
              <a:rPr lang="de-DE" dirty="0"/>
              <a:t>: </a:t>
            </a:r>
            <a:r>
              <a:rPr lang="de-DE" dirty="0" err="1"/>
              <a:t>summarise</a:t>
            </a:r>
            <a:r>
              <a:rPr lang="de-DE" dirty="0"/>
              <a:t>()	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536512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968376"/>
            <a:ext cx="8305800" cy="1121682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8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en-US" dirty="0"/>
              <a:t> </a:t>
            </a:r>
            <a:r>
              <a:rPr lang="en-US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en-US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_by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sex, time)</a:t>
            </a:r>
            <a:r>
              <a:rPr lang="en-US" dirty="0"/>
              <a:t> </a:t>
            </a:r>
            <a:r>
              <a:rPr lang="en-US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en-US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is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n_bill</a:t>
            </a:r>
            <a:r>
              <a:rPr lang="en-US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), </a:t>
            </a:r>
            <a:r>
              <a:rPr lang="en-US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=</a:t>
            </a:r>
            <a:r>
              <a:rPr lang="en-US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</a:p>
          <a:p>
            <a:pPr lvl="1"/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ach Gruppen zusammenfassen: </a:t>
            </a:r>
            <a:r>
              <a:rPr lang="de-DE" dirty="0" err="1"/>
              <a:t>group_by</a:t>
            </a:r>
            <a:r>
              <a:rPr lang="de-DE" dirty="0"/>
              <a:t>()	</a:t>
            </a:r>
          </a:p>
          <a:p>
            <a:endParaRPr lang="de-DE" dirty="0"/>
          </a:p>
        </p:txBody>
      </p:sp>
      <p:graphicFrame>
        <p:nvGraphicFramePr>
          <p:cNvPr id="9" name="Tabelle 8"/>
          <p:cNvGraphicFramePr>
            <a:graphicFrameLocks noGrp="1"/>
          </p:cNvGraphicFramePr>
          <p:nvPr>
            <p:extLst/>
          </p:nvPr>
        </p:nvGraphicFramePr>
        <p:xfrm>
          <a:off x="107950" y="2494280"/>
          <a:ext cx="6096002" cy="293116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769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47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47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47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5477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66395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 #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A </a:t>
                      </a:r>
                      <a:r>
                        <a:rPr lang="de-DE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tibble</a:t>
                      </a: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: 4 x 4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 #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Groups: </a:t>
                      </a:r>
                      <a:r>
                        <a:rPr lang="de-DE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sex</a:t>
                      </a: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[?]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algn="l"/>
                      <a:r>
                        <a:rPr lang="en-US" sz="16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se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time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mean_bill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n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algn="r"/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lt;</a:t>
                      </a:r>
                      <a:r>
                        <a:rPr lang="de-DE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fctr</a:t>
                      </a: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lt;</a:t>
                      </a:r>
                      <a:r>
                        <a:rPr lang="de-DE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fctr</a:t>
                      </a: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lt;</a:t>
                      </a:r>
                      <a:r>
                        <a:rPr lang="de-DE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dbl</a:t>
                      </a: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lt;</a:t>
                      </a:r>
                      <a:r>
                        <a:rPr lang="de-DE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int</a:t>
                      </a: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gt;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 1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Fem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Din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9.213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5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 2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Fem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Lun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6.339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3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 3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M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Din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21.461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2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 4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M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Lun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8.048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3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36887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1 Wissensgenerierender Prozes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32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2 Kernprozess: Datenanaly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06565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32D66C6C-8F88-A940-A05C-743845982B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509" y="1067097"/>
            <a:ext cx="8162275" cy="5296977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ernprozess: Datenanalyse</a:t>
            </a:r>
          </a:p>
        </p:txBody>
      </p:sp>
    </p:spTree>
    <p:extLst>
      <p:ext uri="{BB962C8B-B14F-4D97-AF65-F5344CB8AC3E}">
        <p14:creationId xmlns:p14="http://schemas.microsoft.com/office/powerpoint/2010/main" val="7310371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25452" y="2342606"/>
            <a:ext cx="8280348" cy="522514"/>
          </a:xfrm>
          <a:prstGeom prst="rect">
            <a:avLst/>
          </a:prstGeom>
          <a:solidFill>
            <a:srgbClr val="ECF2F8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lvl="2" indent="-342900">
              <a:buFont typeface="+mj-lt"/>
              <a:buAutoNum type="arabicPeriod"/>
            </a:pPr>
            <a:r>
              <a:rPr lang="de-DE" dirty="0"/>
              <a:t>R (</a:t>
            </a:r>
            <a:r>
              <a:rPr lang="de-DE" u="sng" dirty="0">
                <a:solidFill>
                  <a:schemeClr val="accent1"/>
                </a:solidFill>
              </a:rPr>
              <a:t>https://www.r-project.org/</a:t>
            </a:r>
            <a:r>
              <a:rPr lang="de-DE" dirty="0"/>
              <a:t>)</a:t>
            </a:r>
          </a:p>
          <a:p>
            <a:pPr marL="342900" lvl="2" indent="-342900">
              <a:buFont typeface="+mj-lt"/>
              <a:buAutoNum type="arabicPeriod"/>
            </a:pPr>
            <a:r>
              <a:rPr lang="de-DE" dirty="0"/>
              <a:t>RStudio Desktop (</a:t>
            </a:r>
            <a:r>
              <a:rPr lang="de-DE" u="sng" dirty="0">
                <a:solidFill>
                  <a:schemeClr val="accent1"/>
                </a:solidFill>
              </a:rPr>
              <a:t>https://www.rstudio.com/</a:t>
            </a:r>
            <a:r>
              <a:rPr lang="de-DE" dirty="0"/>
              <a:t>)</a:t>
            </a:r>
          </a:p>
          <a:p>
            <a:pPr marL="342900" lvl="2" indent="-342900">
              <a:buFont typeface="+mj-lt"/>
              <a:buAutoNum type="arabicPeriod"/>
            </a:pPr>
            <a:r>
              <a:rPr lang="de-DE" dirty="0"/>
              <a:t>Installation von Zusatzpaketen in RStudio: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install.packages("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dirty="0"/>
              <a:t>")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Ausführliche Installationsanleitung </a:t>
            </a:r>
            <a:r>
              <a:rPr lang="de-DE" dirty="0">
                <a:hlinkClick r:id="rId3"/>
              </a:rPr>
              <a:t>hier</a:t>
            </a:r>
            <a:r>
              <a:rPr lang="de-DE" dirty="0"/>
              <a:t>.</a:t>
            </a:r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R Installation	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40375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25451" y="979788"/>
            <a:ext cx="8315181" cy="1812839"/>
          </a:xfrm>
          <a:prstGeom prst="rect">
            <a:avLst/>
          </a:prstGeom>
          <a:solidFill>
            <a:srgbClr val="ECF2F8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Inhaltsplatzhalter 4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lvl="1"/>
                <a:r>
                  <a:rPr lang="de-DE" b="1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analysiere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(</a:t>
                </a:r>
                <a14:m>
                  <m:oMath xmlns:m="http://schemas.openxmlformats.org/officeDocument/2006/math">
                    <m:r>
                      <a:rPr lang="de-DE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𝑦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~ </m:t>
                    </m:r>
                  </m:oMath>
                </a14:m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</a:rPr>
                  <a:t># ggfs. abhängige Variable</a:t>
                </a:r>
              </a:p>
              <a:p>
                <a:pPr lvl="1"/>
                <a:r>
                  <a:rPr lang="de-DE" dirty="0"/>
                  <a:t>	            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x</a:t>
                </a:r>
                <a:r>
                  <a:rPr lang="de-DE" dirty="0"/>
                  <a:t>  </a:t>
                </a:r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</a:rPr>
                  <a:t># unabhängige Variable(n)</a:t>
                </a:r>
              </a:p>
              <a:p>
                <a:pPr lvl="1"/>
                <a:r>
                  <a:rPr lang="de-DE" dirty="0"/>
                  <a:t>	          </a:t>
                </a:r>
                <a:r>
                  <a:rPr lang="de-DE" dirty="0">
                    <a:solidFill>
                      <a:schemeClr val="accent3"/>
                    </a:solidFill>
                  </a:rPr>
                  <a:t>|</a:t>
                </a:r>
                <a:r>
                  <a:rPr lang="de-DE" dirty="0"/>
                  <a:t> 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z</a:t>
                </a:r>
                <a:r>
                  <a:rPr lang="de-DE" dirty="0">
                    <a:cs typeface="Courier New" panose="02070309020205020404" pitchFamily="49" charset="0"/>
                  </a:rPr>
                  <a:t>, </a:t>
                </a:r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</a:rPr>
                  <a:t># ggfs. bedingende (gruppierende) Variable(n)</a:t>
                </a:r>
              </a:p>
              <a:p>
                <a:pPr lvl="1"/>
                <a:r>
                  <a:rPr lang="de-DE" dirty="0"/>
                  <a:t>	          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Optionen</a:t>
                </a:r>
                <a:r>
                  <a:rPr lang="de-DE" dirty="0"/>
                  <a:t>, </a:t>
                </a:r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</a:rPr>
                  <a:t># ggfs. weitere Optionen</a:t>
                </a:r>
              </a:p>
              <a:p>
                <a:pPr lvl="1"/>
                <a:r>
                  <a:rPr lang="de-DE" dirty="0"/>
                  <a:t>	          </a:t>
                </a:r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data = 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daten)</a:t>
                </a:r>
                <a:r>
                  <a:rPr lang="de-DE" dirty="0"/>
                  <a:t> </a:t>
                </a:r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</a:rPr>
                  <a:t># Datensatz</a:t>
                </a:r>
              </a:p>
              <a:p>
                <a:pPr lvl="1"/>
                <a:endParaRPr lang="de-DE" dirty="0"/>
              </a:p>
              <a:p>
                <a:pPr lvl="1"/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analysiere(): </a:t>
                </a:r>
                <a:r>
                  <a:rPr lang="de-DE" dirty="0"/>
                  <a:t>Was soll R tun?*</a:t>
                </a:r>
              </a:p>
              <a:p>
                <a:pPr lvl="1"/>
                <a:r>
                  <a:rPr lang="de-DE" dirty="0"/>
                  <a:t>Hinweis: unter macOS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: ~: alt+n, |: alt+7</a:t>
                </a:r>
              </a:p>
              <a:p>
                <a:pPr lvl="1"/>
                <a:endParaRPr lang="de-DE" dirty="0"/>
              </a:p>
              <a:p>
                <a:pPr lvl="1"/>
                <a:endParaRPr lang="de-DE" u="sng" dirty="0">
                  <a:solidFill>
                    <a:schemeClr val="accent1"/>
                  </a:solidFill>
                </a:endParaRPr>
              </a:p>
              <a:p>
                <a:endParaRPr lang="de-DE" dirty="0"/>
              </a:p>
              <a:p>
                <a:endParaRPr lang="de-DE" dirty="0"/>
              </a:p>
              <a:p>
                <a:pPr lvl="1"/>
                <a:endParaRPr lang="de-DE" dirty="0"/>
              </a:p>
              <a:p>
                <a:pPr lvl="1"/>
                <a:endParaRPr lang="de-DE" dirty="0"/>
              </a:p>
              <a:p>
                <a:endParaRPr lang="de-DE" dirty="0"/>
              </a:p>
              <a:p>
                <a:endParaRPr lang="de-DE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5" name="Inhaltsplatzhalter 4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3"/>
                <a:stretch>
                  <a:fillRect l="-587" t="-79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de: mosaic	</a:t>
            </a:r>
          </a:p>
          <a:p>
            <a:endParaRPr lang="de-DE" dirty="0"/>
          </a:p>
        </p:txBody>
      </p:sp>
      <p:sp>
        <p:nvSpPr>
          <p:cNvPr id="9" name="Textfeld 8"/>
          <p:cNvSpPr txBox="1"/>
          <p:nvPr/>
        </p:nvSpPr>
        <p:spPr bwMode="auto">
          <a:xfrm>
            <a:off x="130175" y="6238959"/>
            <a:ext cx="8210457" cy="197694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lvl="1"/>
            <a:r>
              <a:rPr lang="de-DE" sz="1050" dirty="0"/>
              <a:t>*Befehlsübersicht </a:t>
            </a:r>
            <a:r>
              <a:rPr lang="de-DE" sz="1050" dirty="0">
                <a:solidFill>
                  <a:schemeClr val="accent1"/>
                </a:solidFill>
                <a:hlinkClick r:id="rId4"/>
              </a:rPr>
              <a:t>hier</a:t>
            </a:r>
            <a:r>
              <a:rPr lang="de-DE" sz="105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836173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25452" y="1968137"/>
            <a:ext cx="8280348" cy="539932"/>
          </a:xfrm>
          <a:prstGeom prst="rect">
            <a:avLst/>
          </a:prstGeom>
          <a:solidFill>
            <a:srgbClr val="ECF2F8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lvl="2" indent="-342900">
              <a:buFont typeface="+mj-lt"/>
              <a:buAutoNum type="arabicPeriod"/>
            </a:pPr>
            <a:r>
              <a:rPr lang="de-DE" dirty="0"/>
              <a:t>Was soll der Computer für mich tun?</a:t>
            </a:r>
          </a:p>
          <a:p>
            <a:pPr marL="342900" lvl="2" indent="-342900">
              <a:buFont typeface="+mj-lt"/>
              <a:buAutoNum type="arabicPeriod"/>
            </a:pPr>
            <a:r>
              <a:rPr lang="de-DE" dirty="0"/>
              <a:t>Was muss der Computer dafür wissen?</a:t>
            </a:r>
          </a:p>
          <a:p>
            <a:pPr lvl="1"/>
            <a:endParaRPr lang="de-DE" dirty="0"/>
          </a:p>
          <a:p>
            <a:pPr lvl="1"/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analys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 meiny </a:t>
            </a:r>
            <a:r>
              <a:rPr lang="de-DE" dirty="0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meinx,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 =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meinedaten)</a:t>
            </a:r>
          </a:p>
          <a:p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Zentrale Fragen	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58548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PPT-Vorlage_der_FOM_20140109">
  <a:themeElements>
    <a:clrScheme name="FOM">
      <a:dk1>
        <a:srgbClr val="262626"/>
      </a:dk1>
      <a:lt1>
        <a:sysClr val="window" lastClr="FFFFFF"/>
      </a:lt1>
      <a:dk2>
        <a:srgbClr val="717D87"/>
      </a:dk2>
      <a:lt2>
        <a:srgbClr val="DBDEE1"/>
      </a:lt2>
      <a:accent1>
        <a:srgbClr val="00998A"/>
      </a:accent1>
      <a:accent2>
        <a:srgbClr val="BFE5E2"/>
      </a:accent2>
      <a:accent3>
        <a:srgbClr val="A10010"/>
      </a:accent3>
      <a:accent4>
        <a:srgbClr val="E7C2C3"/>
      </a:accent4>
      <a:accent5>
        <a:srgbClr val="004A94"/>
      </a:accent5>
      <a:accent6>
        <a:srgbClr val="BFD1E4"/>
      </a:accent6>
      <a:hlink>
        <a:srgbClr val="00998A"/>
      </a:hlink>
      <a:folHlink>
        <a:srgbClr val="00998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solidFill>
            <a:schemeClr val="accent1">
              <a:lumMod val="75000"/>
            </a:schemeClr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8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12700">
          <a:noFill/>
        </a:ln>
        <a:effectLst/>
        <a:ex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 marL="0" marR="0" indent="0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rgbClr val="23A092"/>
          </a:buClr>
          <a:buSzPct val="80000"/>
          <a:buFont typeface="Wingdings" pitchFamily="2" charset="2"/>
          <a:buNone/>
          <a:tabLst/>
          <a:defRPr kumimoji="0" sz="1400" b="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</a:defRPr>
        </a:defPPr>
      </a:lstStyle>
    </a:tx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d1312fa-e390-456c-ad55-274c0ad7ddc5" id="{69D9E83B-03AC-4606-AD34-5119CDE18BE6}" vid="{FC345B11-AE87-45E7-B497-22C7DAA36E59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88</Words>
  <Application>Microsoft Macintosh PowerPoint</Application>
  <PresentationFormat>Bildschirmpräsentation (4:3)</PresentationFormat>
  <Paragraphs>464</Paragraphs>
  <Slides>38</Slides>
  <Notes>1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8</vt:i4>
      </vt:variant>
    </vt:vector>
  </HeadingPairs>
  <TitlesOfParts>
    <vt:vector size="43" baseType="lpstr">
      <vt:lpstr>Arial</vt:lpstr>
      <vt:lpstr>Cambria Math</vt:lpstr>
      <vt:lpstr>Courier New</vt:lpstr>
      <vt:lpstr>Wingdings</vt:lpstr>
      <vt:lpstr>PPT-Vorlage_der_FOM_20140109</vt:lpstr>
      <vt:lpstr>PowerPoint-Präsentation</vt:lpstr>
      <vt:lpstr>Vorstellung</vt:lpstr>
      <vt:lpstr>R-Training</vt:lpstr>
      <vt:lpstr>PowerPoint-Präsentation</vt:lpstr>
      <vt:lpstr>PowerPoint-Präsentation</vt:lpstr>
      <vt:lpstr>R-Training</vt:lpstr>
      <vt:lpstr>R-Training</vt:lpstr>
      <vt:lpstr>R-Training</vt:lpstr>
      <vt:lpstr>R-Training</vt:lpstr>
      <vt:lpstr>R-Training</vt:lpstr>
      <vt:lpstr>PowerPoint-Präsentation</vt:lpstr>
      <vt:lpstr>R-Training</vt:lpstr>
      <vt:lpstr>R-Training</vt:lpstr>
      <vt:lpstr>R-Training</vt:lpstr>
      <vt:lpstr>PowerPoint-Präsentation</vt:lpstr>
      <vt:lpstr>PowerPoint-Präsentation</vt:lpstr>
      <vt:lpstr>PowerPoint-Präsentation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öler, Tobias</dc:creator>
  <cp:lastModifiedBy>Sven Thies</cp:lastModifiedBy>
  <cp:revision>653</cp:revision>
  <cp:lastPrinted>2013-02-22T13:48:11Z</cp:lastPrinted>
  <dcterms:created xsi:type="dcterms:W3CDTF">2017-12-20T06:53:29Z</dcterms:created>
  <dcterms:modified xsi:type="dcterms:W3CDTF">2018-12-05T15:44:43Z</dcterms:modified>
  <cp:version>20140523</cp:version>
</cp:coreProperties>
</file>